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283" r:id="rId5"/>
    <p:sldId id="257" r:id="rId6"/>
    <p:sldId id="287" r:id="rId7"/>
    <p:sldId id="289" r:id="rId8"/>
    <p:sldId id="288" r:id="rId9"/>
    <p:sldId id="284" r:id="rId10"/>
    <p:sldId id="265" r:id="rId11"/>
    <p:sldId id="273" r:id="rId12"/>
    <p:sldId id="275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10F"/>
    <a:srgbClr val="4F17A8"/>
    <a:srgbClr val="2B008C"/>
    <a:srgbClr val="8A66C4"/>
    <a:srgbClr val="C4B2E3"/>
    <a:srgbClr val="E5DCF2"/>
    <a:srgbClr val="05BFE0"/>
    <a:srgbClr val="0080A8"/>
    <a:srgbClr val="59D4EB"/>
    <a:srgbClr val="ABE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558"/>
  </p:normalViewPr>
  <p:slideViewPr>
    <p:cSldViewPr snapToGrid="0" snapToObjects="1">
      <p:cViewPr varScale="1">
        <p:scale>
          <a:sx n="80" d="100"/>
          <a:sy n="80" d="100"/>
        </p:scale>
        <p:origin x="307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6" d="100"/>
        <a:sy n="9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13987C-8BE7-934C-B1ED-966EA1B50DA6}" type="datetimeFigureOut">
              <a:rPr lang="en-US" smtClean="0"/>
              <a:t>7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737FC-9382-F947-AADD-FA4FB46597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246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26.emf"/><Relationship Id="rId7" Type="http://schemas.openxmlformats.org/officeDocument/2006/relationships/image" Target="../media/image24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10" Type="http://schemas.openxmlformats.org/officeDocument/2006/relationships/image" Target="../media/image23.png"/><Relationship Id="rId4" Type="http://schemas.openxmlformats.org/officeDocument/2006/relationships/image" Target="../media/image27.emf"/><Relationship Id="rId9" Type="http://schemas.openxmlformats.org/officeDocument/2006/relationships/image" Target="../media/image22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14.emf"/><Relationship Id="rId18" Type="http://schemas.openxmlformats.org/officeDocument/2006/relationships/image" Target="../media/image19.emf"/><Relationship Id="rId3" Type="http://schemas.openxmlformats.org/officeDocument/2006/relationships/image" Target="../media/image4.emf"/><Relationship Id="rId7" Type="http://schemas.openxmlformats.org/officeDocument/2006/relationships/image" Target="../media/image8.emf"/><Relationship Id="rId12" Type="http://schemas.openxmlformats.org/officeDocument/2006/relationships/image" Target="../media/image13.emf"/><Relationship Id="rId17" Type="http://schemas.openxmlformats.org/officeDocument/2006/relationships/image" Target="../media/image18.emf"/><Relationship Id="rId2" Type="http://schemas.openxmlformats.org/officeDocument/2006/relationships/image" Target="../media/image3.emf"/><Relationship Id="rId16" Type="http://schemas.openxmlformats.org/officeDocument/2006/relationships/image" Target="../media/image17.emf"/><Relationship Id="rId20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11" Type="http://schemas.openxmlformats.org/officeDocument/2006/relationships/image" Target="../media/image12.emf"/><Relationship Id="rId5" Type="http://schemas.openxmlformats.org/officeDocument/2006/relationships/image" Target="../media/image6.emf"/><Relationship Id="rId15" Type="http://schemas.openxmlformats.org/officeDocument/2006/relationships/image" Target="../media/image16.emf"/><Relationship Id="rId10" Type="http://schemas.openxmlformats.org/officeDocument/2006/relationships/image" Target="../media/image11.emf"/><Relationship Id="rId19" Type="http://schemas.openxmlformats.org/officeDocument/2006/relationships/image" Target="../media/image20.emf"/><Relationship Id="rId4" Type="http://schemas.openxmlformats.org/officeDocument/2006/relationships/image" Target="../media/image5.emf"/><Relationship Id="rId9" Type="http://schemas.openxmlformats.org/officeDocument/2006/relationships/image" Target="../media/image10.emf"/><Relationship Id="rId14" Type="http://schemas.openxmlformats.org/officeDocument/2006/relationships/image" Target="../media/image15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26.emf"/><Relationship Id="rId7" Type="http://schemas.openxmlformats.org/officeDocument/2006/relationships/image" Target="../media/image32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emf"/><Relationship Id="rId5" Type="http://schemas.openxmlformats.org/officeDocument/2006/relationships/image" Target="../media/image28.emf"/><Relationship Id="rId10" Type="http://schemas.openxmlformats.org/officeDocument/2006/relationships/image" Target="../media/image23.png"/><Relationship Id="rId4" Type="http://schemas.openxmlformats.org/officeDocument/2006/relationships/image" Target="../media/image27.emf"/><Relationship Id="rId9" Type="http://schemas.openxmlformats.org/officeDocument/2006/relationships/image" Target="../media/image22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25.emf"/><Relationship Id="rId7" Type="http://schemas.openxmlformats.org/officeDocument/2006/relationships/image" Target="../media/image24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emf"/><Relationship Id="rId11" Type="http://schemas.openxmlformats.org/officeDocument/2006/relationships/image" Target="../media/image21.png"/><Relationship Id="rId5" Type="http://schemas.openxmlformats.org/officeDocument/2006/relationships/image" Target="../media/image22.emf"/><Relationship Id="rId10" Type="http://schemas.openxmlformats.org/officeDocument/2006/relationships/image" Target="../media/image28.emf"/><Relationship Id="rId4" Type="http://schemas.openxmlformats.org/officeDocument/2006/relationships/image" Target="../media/image26.emf"/><Relationship Id="rId9" Type="http://schemas.openxmlformats.org/officeDocument/2006/relationships/image" Target="../media/image27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26.emf"/><Relationship Id="rId7" Type="http://schemas.openxmlformats.org/officeDocument/2006/relationships/image" Target="../media/image29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8.emf"/><Relationship Id="rId5" Type="http://schemas.openxmlformats.org/officeDocument/2006/relationships/image" Target="../media/image22.emf"/><Relationship Id="rId10" Type="http://schemas.openxmlformats.org/officeDocument/2006/relationships/image" Target="../media/image23.png"/><Relationship Id="rId4" Type="http://schemas.openxmlformats.org/officeDocument/2006/relationships/image" Target="../media/image27.emf"/><Relationship Id="rId9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26.emf"/><Relationship Id="rId7" Type="http://schemas.openxmlformats.org/officeDocument/2006/relationships/image" Target="../media/image29.emf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8.emf"/><Relationship Id="rId5" Type="http://schemas.openxmlformats.org/officeDocument/2006/relationships/image" Target="../media/image22.emf"/><Relationship Id="rId10" Type="http://schemas.openxmlformats.org/officeDocument/2006/relationships/image" Target="../media/image23.png"/><Relationship Id="rId4" Type="http://schemas.openxmlformats.org/officeDocument/2006/relationships/image" Target="../media/image27.emf"/><Relationship Id="rId9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6" y="1734906"/>
            <a:ext cx="3760788" cy="1719262"/>
          </a:xfrm>
        </p:spPr>
        <p:txBody>
          <a:bodyPr anchor="b"/>
          <a:lstStyle>
            <a:lvl1pPr>
              <a:lnSpc>
                <a:spcPts val="3200"/>
              </a:lnSpc>
              <a:defRPr sz="2800" cap="all" baseline="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4326" y="3608388"/>
            <a:ext cx="3760788" cy="4730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4343E-05BA-9F40-A6AA-424EEF510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5603875"/>
            <a:ext cx="3760788" cy="431800"/>
          </a:xfrm>
        </p:spPr>
        <p:txBody>
          <a:bodyPr>
            <a:noAutofit/>
          </a:bodyPr>
          <a:lstStyle>
            <a:lvl1pPr>
              <a:defRPr sz="1000"/>
            </a:lvl1pPr>
            <a:lvl2pPr marL="7938" indent="0">
              <a:buNone/>
              <a:tabLst/>
              <a:defRPr sz="1000" cap="all" baseline="0"/>
            </a:lvl2pPr>
            <a:lvl3pPr marL="258763" indent="-258763">
              <a:tabLst/>
              <a:defRPr sz="1000"/>
            </a:lvl3pPr>
            <a:lvl4pPr marL="517525" indent="-250825">
              <a:tabLst/>
              <a:defRPr sz="1000"/>
            </a:lvl4pPr>
            <a:lvl5pPr marL="742950" indent="-209550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93326D8-916E-7F42-84A1-D3255B7EA0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91000" y="0"/>
            <a:ext cx="8001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2824" r="1691" b="2329"/>
          <a:stretch/>
        </p:blipFill>
        <p:spPr>
          <a:xfrm>
            <a:off x="314326" y="212494"/>
            <a:ext cx="2366269" cy="90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97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 COLLABORATION">
    <p:bg>
      <p:bgPr>
        <a:solidFill>
          <a:srgbClr val="4F17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VIOLET COLLABOR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E17E88-A260-D741-B709-965CBB25DD6E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6E8CD4-4688-1442-A84F-82A1AC4F57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07975"/>
            <a:ext cx="5721350" cy="57213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87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VIOLET COLLABORATION">
    <p:bg>
      <p:bgPr>
        <a:solidFill>
          <a:srgbClr val="4F17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VIOLET TEAMWOR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E17E88-A260-D741-B709-965CBB25DD6E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C8784-E8A8-2E44-8202-FAC0704B89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07975"/>
            <a:ext cx="5735016" cy="573501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9690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 PATTERN">
    <p:bg>
      <p:bgPr>
        <a:solidFill>
          <a:srgbClr val="4F17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5095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VIOLET PATTER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B358D3-A82E-7A42-949A-12099241BB37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285" y="5187550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14070" y="3224893"/>
            <a:ext cx="864453" cy="864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6F4148-A6EF-0B41-BA3C-1DBDAAEC3C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4070" y="1302004"/>
            <a:ext cx="855663" cy="8556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220902C-155B-D849-ACE7-AE85807C1B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87519" y="5232181"/>
            <a:ext cx="849311" cy="849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51563" y="2262188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078118" y="1287463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0058347" y="292894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2" y="4214813"/>
            <a:ext cx="847725" cy="8477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6544F6-B72E-C748-B9C0-4584A6B422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44113" y="2262188"/>
            <a:ext cx="847725" cy="8477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73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828800"/>
            <a:ext cx="11558588" cy="4206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2E343-2B04-EB48-9B97-BD2FE8D48C7F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691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825625"/>
            <a:ext cx="5705475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700713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A0274-0969-3941-8619-969AE42D3FF0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103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7" y="1825625"/>
            <a:ext cx="3675887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794" y="1825625"/>
            <a:ext cx="3671887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6AE46-E964-4841-95DA-D027440F40A9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52804E9-EC7B-7941-AEE8-96B420A9CD2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16094" y="1825625"/>
            <a:ext cx="3671887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7" y="627609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54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2442940-A61A-1D4B-8D34-AED74D349798}"/>
              </a:ext>
            </a:extLst>
          </p:cNvPr>
          <p:cNvSpPr/>
          <p:nvPr userDrawn="1"/>
        </p:nvSpPr>
        <p:spPr>
          <a:xfrm>
            <a:off x="0" y="0"/>
            <a:ext cx="407511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484CA1-A981-5642-BF29-DC185157FEF2}"/>
              </a:ext>
            </a:extLst>
          </p:cNvPr>
          <p:cNvSpPr/>
          <p:nvPr userDrawn="1"/>
        </p:nvSpPr>
        <p:spPr>
          <a:xfrm>
            <a:off x="8103765" y="0"/>
            <a:ext cx="4088235" cy="6858000"/>
          </a:xfrm>
          <a:prstGeom prst="rect">
            <a:avLst/>
          </a:prstGeom>
          <a:solidFill>
            <a:srgbClr val="4F17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25898" y="2007764"/>
            <a:ext cx="2537903" cy="404336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 marL="7938" indent="0">
              <a:buFontTx/>
              <a:buNone/>
              <a:tabLst/>
              <a:defRPr sz="2200">
                <a:solidFill>
                  <a:schemeClr val="bg1"/>
                </a:solidFill>
              </a:defRPr>
            </a:lvl2pPr>
            <a:lvl3pPr marL="7938" indent="0">
              <a:buNone/>
              <a:tabLst/>
              <a:defRPr sz="1400">
                <a:solidFill>
                  <a:schemeClr val="bg1"/>
                </a:solidFill>
              </a:defRPr>
            </a:lvl3pPr>
            <a:lvl4pPr marL="233363" indent="-233363">
              <a:tabLst/>
              <a:defRPr sz="1400">
                <a:solidFill>
                  <a:schemeClr val="bg1"/>
                </a:solidFill>
              </a:defRPr>
            </a:lvl4pPr>
            <a:lvl5pPr marL="7938" indent="0"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hase 2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BD696-7C8A-2A45-A7BF-3087168EA6B0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456BA1C-8FE7-1545-9EE7-FEB5790C61F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11336" y="2007764"/>
            <a:ext cx="2537903" cy="404336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 marL="7938" indent="0">
              <a:buFontTx/>
              <a:buNone/>
              <a:tabLst/>
              <a:defRPr sz="2200">
                <a:solidFill>
                  <a:schemeClr val="bg1"/>
                </a:solidFill>
              </a:defRPr>
            </a:lvl2pPr>
            <a:lvl3pPr marL="7938" indent="0">
              <a:buNone/>
              <a:tabLst/>
              <a:defRPr sz="1400">
                <a:solidFill>
                  <a:schemeClr val="bg1"/>
                </a:solidFill>
              </a:defRPr>
            </a:lvl3pPr>
            <a:lvl4pPr marL="233363" indent="-233363">
              <a:tabLst/>
              <a:defRPr sz="1400">
                <a:solidFill>
                  <a:schemeClr val="bg1"/>
                </a:solidFill>
              </a:defRPr>
            </a:lvl4pPr>
            <a:lvl5pPr marL="7938" indent="0"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hase 3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8B69221-EC07-7047-93A5-09CD4CA8598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06903" y="2007764"/>
            <a:ext cx="2537903" cy="404336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 marL="7938" indent="0">
              <a:buFontTx/>
              <a:buNone/>
              <a:tabLst/>
              <a:defRPr sz="2200">
                <a:solidFill>
                  <a:schemeClr val="bg1"/>
                </a:solidFill>
              </a:defRPr>
            </a:lvl2pPr>
            <a:lvl3pPr marL="7938" indent="0">
              <a:buNone/>
              <a:tabLst/>
              <a:defRPr sz="1400">
                <a:solidFill>
                  <a:schemeClr val="bg1"/>
                </a:solidFill>
              </a:defRPr>
            </a:lvl3pPr>
            <a:lvl4pPr marL="233363" indent="-233363">
              <a:tabLst/>
              <a:defRPr sz="1400">
                <a:solidFill>
                  <a:schemeClr val="bg1"/>
                </a:solidFill>
              </a:defRPr>
            </a:lvl4pPr>
            <a:lvl5pPr marL="7938" indent="0"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hase 1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538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227469-4926-C24C-9286-249EA7D18847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DA3F6D-83D4-BE48-9E26-53EF39798E6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32226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DFB3D4-E49B-0F4E-A134-A9946D7F6DD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436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062AACB-5EAA-694C-B128-5E55E763F06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0773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7609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995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nten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825625"/>
            <a:ext cx="5705475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847-D166-824F-BF25-C81C07C7958A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0D89CE-43D8-264D-9E8B-EF25D8F99E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1563" y="303213"/>
            <a:ext cx="5721350" cy="573246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51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ntent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7438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67438" y="1825625"/>
            <a:ext cx="5705475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B87EE-AB7B-094A-B9F5-CDE098C24703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0D89CE-43D8-264D-9E8B-EF25D8F99E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88" y="303213"/>
            <a:ext cx="5721350" cy="573246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3119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2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6" y="1734906"/>
            <a:ext cx="3760788" cy="1719262"/>
          </a:xfrm>
        </p:spPr>
        <p:txBody>
          <a:bodyPr anchor="b"/>
          <a:lstStyle>
            <a:lvl1pPr>
              <a:lnSpc>
                <a:spcPts val="3200"/>
              </a:lnSpc>
              <a:defRPr sz="2800" cap="all" baseline="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4326" y="3608388"/>
            <a:ext cx="3760788" cy="4730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4343E-05BA-9F40-A6AA-424EEF510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5603875"/>
            <a:ext cx="3760788" cy="431800"/>
          </a:xfrm>
        </p:spPr>
        <p:txBody>
          <a:bodyPr>
            <a:noAutofit/>
          </a:bodyPr>
          <a:lstStyle>
            <a:lvl1pPr>
              <a:defRPr sz="1000"/>
            </a:lvl1pPr>
            <a:lvl2pPr marL="7938" indent="0">
              <a:buNone/>
              <a:tabLst/>
              <a:defRPr sz="1000" cap="all" baseline="0"/>
            </a:lvl2pPr>
            <a:lvl3pPr marL="258763" indent="-258763">
              <a:tabLst/>
              <a:defRPr sz="1000"/>
            </a:lvl3pPr>
            <a:lvl4pPr marL="517525" indent="-250825">
              <a:tabLst/>
              <a:defRPr sz="1000"/>
            </a:lvl4pPr>
            <a:lvl5pPr marL="742950" indent="-209550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F123EB-1A43-4C47-967B-614F31189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1521" y="307975"/>
            <a:ext cx="847725" cy="8477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C5CB2C-9AAA-1545-915E-FC49B45E41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14264" y="1248105"/>
            <a:ext cx="885495" cy="8854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50D0D3B-8E64-C94D-8C57-958F4D587C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7250" y="2252663"/>
            <a:ext cx="855663" cy="85566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72E3624-EF0D-344F-99F9-38B4AA30CE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78912" y="3233738"/>
            <a:ext cx="847725" cy="847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B9138D8-3839-EB41-9693-581FF9D1CE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78911" y="5180012"/>
            <a:ext cx="847726" cy="84772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974C70-9A1B-AD41-A5E9-A11196CF8E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16763" y="2252663"/>
            <a:ext cx="8636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81B349C-E974-CA4B-8764-2093323EC9D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32666" y="1295881"/>
            <a:ext cx="847725" cy="84772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4409720-67C7-9E46-AEB9-D2ED2D6E73B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017249" y="5201133"/>
            <a:ext cx="855663" cy="85566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4240006-C33B-FA46-BCDC-BF385748B15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083550" y="4198938"/>
            <a:ext cx="863600" cy="863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F52FABE-7A49-B541-8D4D-5F2D7F0B4A8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172075" y="4214813"/>
            <a:ext cx="847725" cy="84772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B78D3D4-C81F-0A47-B195-07CB55354A1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033969" y="1304663"/>
            <a:ext cx="838943" cy="83894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DEE42EA-6D04-1848-B012-BD6227B7702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153149" y="3233738"/>
            <a:ext cx="847725" cy="84772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02AE748-0409-204F-911D-ED5B95B1510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119271" y="2278064"/>
            <a:ext cx="830262" cy="83026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3515782-B710-0042-9284-5AEF22241D9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101807" y="305041"/>
            <a:ext cx="847725" cy="84772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C995910-AE81-184A-AE58-D8D46E560625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078912" y="4198938"/>
            <a:ext cx="847725" cy="84772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BF42211-D502-654E-A7BC-34E97CA8F595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6163313" y="1295881"/>
            <a:ext cx="847725" cy="84772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B20B70C-80FC-B647-98C0-AF2E0A554BDE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132638" y="5180012"/>
            <a:ext cx="847725" cy="84772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98A033A-DA29-BA45-807C-B9128E9A703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059985" y="5181600"/>
            <a:ext cx="846137" cy="84613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CD37044-59FA-F143-AECF-6BD3BC419F22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096376" y="1286115"/>
            <a:ext cx="830262" cy="83026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2824" r="1691" b="2329"/>
          <a:stretch/>
        </p:blipFill>
        <p:spPr>
          <a:xfrm>
            <a:off x="314326" y="212494"/>
            <a:ext cx="2366269" cy="90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2131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onten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E7ADE-6F10-1142-AEA7-FE5F1740BF72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F889-CC52-F940-856C-51ED29C13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12900"/>
            <a:ext cx="4740275" cy="3449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4892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ontent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1563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1FEBB-6A99-D647-AC16-C20746B1070E}" type="datetime3">
              <a:rPr lang="en-US" smtClean="0"/>
              <a:t>22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F889-CC52-F940-856C-51ED29C13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1563" y="1612900"/>
            <a:ext cx="4740275" cy="3449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2857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041555-4E7B-2F45-99CC-7D97BF5184A8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596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Conten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E0F37E5-098D-4B4E-8F50-5BBDD09142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7150" y="0"/>
            <a:ext cx="3240088" cy="6858000"/>
          </a:xfrm>
          <a:solidFill>
            <a:schemeClr val="accent1"/>
          </a:solidFill>
        </p:spPr>
        <p:txBody>
          <a:bodyPr lIns="457200" tIns="1188720" rIns="274320"/>
          <a:lstStyle>
            <a:lvl1pPr>
              <a:spcAft>
                <a:spcPts val="600"/>
              </a:spcAft>
              <a:defRPr sz="60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tabLst/>
              <a:defRPr sz="1600">
                <a:solidFill>
                  <a:schemeClr val="bg1"/>
                </a:solidFill>
              </a:defRPr>
            </a:lvl2pPr>
            <a:lvl3pPr marL="228600" indent="-228600">
              <a:tabLst/>
              <a:defRPr sz="1600">
                <a:solidFill>
                  <a:schemeClr val="bg1"/>
                </a:solidFill>
              </a:defRPr>
            </a:lvl3pPr>
            <a:lvl4pPr marL="228600" indent="-228600">
              <a:tabLst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%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7783513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2BEFA7-94B0-F14D-8D0E-FEFBB368FAB7}" type="datetime3">
              <a:rPr lang="en-US" smtClean="0"/>
              <a:t>22 July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F889-CC52-F940-856C-51ED29C13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12900"/>
            <a:ext cx="7783513" cy="3449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5650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C250D1-D419-0749-9CE8-FF2378899362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1EBEB5-9CAC-B04D-92DD-C5F2068118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325" y="1287463"/>
            <a:ext cx="766603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8EC86BF-9327-3A4F-90FA-1E4B778717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97838" y="1287463"/>
            <a:ext cx="3775075" cy="20526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43C9E418-C89A-204C-9103-99356F5EFD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97838" y="3509963"/>
            <a:ext cx="3775075" cy="20526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B2A138-8FC7-8B47-A2E8-8DCA48EC7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4325" y="5753100"/>
            <a:ext cx="7666038" cy="282575"/>
          </a:xfrm>
        </p:spPr>
        <p:txBody>
          <a:bodyPr>
            <a:noAutofit/>
          </a:bodyPr>
          <a:lstStyle>
            <a:lvl1pPr>
              <a:defRPr sz="1200" cap="all" baseline="0"/>
            </a:lvl1pPr>
            <a:lvl2pPr marL="0" indent="0">
              <a:buFontTx/>
              <a:buNone/>
              <a:tabLst/>
              <a:defRPr sz="120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77650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with cap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417-37E1-084F-875D-6EF728360C51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1EBEB5-9CAC-B04D-92DD-C5F2068118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325" y="1287463"/>
            <a:ext cx="5713413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B2A138-8FC7-8B47-A2E8-8DCA48EC7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4325" y="5753100"/>
            <a:ext cx="7666038" cy="282575"/>
          </a:xfrm>
        </p:spPr>
        <p:txBody>
          <a:bodyPr>
            <a:noAutofit/>
          </a:bodyPr>
          <a:lstStyle>
            <a:lvl1pPr>
              <a:defRPr sz="1200" cap="all" baseline="0"/>
            </a:lvl1pPr>
            <a:lvl2pPr marL="0" indent="0">
              <a:buFontTx/>
              <a:buNone/>
              <a:tabLst/>
              <a:defRPr sz="120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89A62191-A9D2-DF45-834A-37875AA2A7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3625" y="1287463"/>
            <a:ext cx="5713413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63572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ABCD5-E8D7-3442-80F4-C6371EB1D97F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1EBEB5-9CAC-B04D-92DD-C5F2068118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326" y="1287463"/>
            <a:ext cx="376078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B2A138-8FC7-8B47-A2E8-8DCA48EC7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4325" y="5753100"/>
            <a:ext cx="3760788" cy="282575"/>
          </a:xfrm>
        </p:spPr>
        <p:txBody>
          <a:bodyPr>
            <a:noAutofit/>
          </a:bodyPr>
          <a:lstStyle>
            <a:lvl1pPr>
              <a:defRPr sz="1200" b="1" cap="all" baseline="0"/>
            </a:lvl1pPr>
            <a:lvl2pPr marL="0" indent="0">
              <a:buFontTx/>
              <a:buNone/>
              <a:tabLst/>
              <a:defRPr sz="1200" b="1" cap="all" baseline="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89A62191-A9D2-DF45-834A-37875AA2A7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13226" y="1287463"/>
            <a:ext cx="376078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F8CEA54-6802-3A40-B183-F9B003BC3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6" y="1287463"/>
            <a:ext cx="376078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B427520-87EA-644B-AF80-E5FE47514A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5925" y="5753100"/>
            <a:ext cx="3760788" cy="282575"/>
          </a:xfrm>
        </p:spPr>
        <p:txBody>
          <a:bodyPr>
            <a:noAutofit/>
          </a:bodyPr>
          <a:lstStyle>
            <a:lvl1pPr>
              <a:defRPr sz="1200" b="1" cap="all" baseline="0"/>
            </a:lvl1pPr>
            <a:lvl2pPr marL="0" indent="0">
              <a:buFontTx/>
              <a:buNone/>
              <a:tabLst/>
              <a:defRPr sz="1200" b="1" cap="all" baseline="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BF1C567-1ED2-384F-A94D-5752BA2E65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99425" y="5753100"/>
            <a:ext cx="3760788" cy="282575"/>
          </a:xfrm>
        </p:spPr>
        <p:txBody>
          <a:bodyPr>
            <a:noAutofit/>
          </a:bodyPr>
          <a:lstStyle>
            <a:lvl1pPr>
              <a:defRPr sz="1200" b="1" cap="all" baseline="0"/>
            </a:lvl1pPr>
            <a:lvl2pPr marL="0" indent="0">
              <a:buFontTx/>
              <a:buNone/>
              <a:tabLst/>
              <a:defRPr sz="1200" b="1" cap="all" baseline="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9874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title and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8A48080-CFFA-6B40-8C63-9846472B92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DEE0A6-592B-1D4B-BE47-CBE2064D89FC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8D725D-0795-4D47-9DB2-E970319D9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38300"/>
            <a:ext cx="3760788" cy="4405884"/>
          </a:xfrm>
        </p:spPr>
        <p:txBody>
          <a:bodyPr>
            <a:noAutofit/>
          </a:bodyPr>
          <a:lstStyle>
            <a:lvl1pPr>
              <a:defRPr sz="1600"/>
            </a:lvl1pPr>
            <a:lvl2pPr marL="228600" indent="-228600">
              <a:tabLst/>
              <a:defRPr sz="1600"/>
            </a:lvl2pPr>
            <a:lvl3pPr marL="457200" indent="-228600">
              <a:tabLst/>
              <a:defRPr sz="1600"/>
            </a:lvl3pPr>
            <a:lvl4pPr marL="736600" indent="-228600">
              <a:tabLst/>
              <a:defRPr sz="1600"/>
            </a:lvl4pPr>
            <a:lvl5pPr marL="965200" indent="-228600">
              <a:tabLst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13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image with title and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8A48080-CFFA-6B40-8C63-9846472B92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33ACD63-CEFE-0742-A49C-23CB2A8A6E13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8D725D-0795-4D47-9DB2-E970319D9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38299"/>
            <a:ext cx="3760788" cy="4397375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228600" indent="-228600">
              <a:tabLst/>
              <a:defRPr sz="1600">
                <a:solidFill>
                  <a:schemeClr val="bg1"/>
                </a:solidFill>
              </a:defRPr>
            </a:lvl2pPr>
            <a:lvl3pPr marL="457200" indent="-228600">
              <a:tabLst/>
              <a:defRPr sz="1600">
                <a:solidFill>
                  <a:schemeClr val="bg1"/>
                </a:solidFill>
              </a:defRPr>
            </a:lvl3pPr>
            <a:lvl4pPr marL="736600" indent="-228600">
              <a:tabLst/>
              <a:defRPr sz="1600">
                <a:solidFill>
                  <a:schemeClr val="bg1"/>
                </a:solidFill>
              </a:defRPr>
            </a:lvl4pPr>
            <a:lvl5pPr marL="965200" indent="-228600">
              <a:tabLst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949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B2E09-5AA7-F94D-929B-98BBF584D59A}" type="datetime3">
              <a:rPr lang="en-US" smtClean="0"/>
              <a:t>22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120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GROWTH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6" y="1734906"/>
            <a:ext cx="3760788" cy="1719262"/>
          </a:xfrm>
        </p:spPr>
        <p:txBody>
          <a:bodyPr anchor="b"/>
          <a:lstStyle>
            <a:lvl1pPr>
              <a:lnSpc>
                <a:spcPts val="32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4326" y="3608388"/>
            <a:ext cx="3760788" cy="4730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4343E-05BA-9F40-A6AA-424EEF510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5603875"/>
            <a:ext cx="3760788" cy="431800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7938" indent="0">
              <a:buNone/>
              <a:tabLst/>
              <a:defRPr sz="1000" cap="all" baseline="0">
                <a:solidFill>
                  <a:schemeClr val="bg1"/>
                </a:solidFill>
              </a:defRPr>
            </a:lvl2pPr>
            <a:lvl3pPr marL="258763" indent="-258763">
              <a:tabLst/>
              <a:defRPr sz="1000">
                <a:solidFill>
                  <a:schemeClr val="bg1"/>
                </a:solidFill>
              </a:defRPr>
            </a:lvl3pPr>
            <a:lvl4pPr marL="517525" indent="-250825">
              <a:tabLst/>
              <a:defRPr sz="1000">
                <a:solidFill>
                  <a:schemeClr val="bg1"/>
                </a:solidFill>
              </a:defRPr>
            </a:lvl4pPr>
            <a:lvl5pPr marL="742950" indent="-209550">
              <a:tabLst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8B6615C-F950-1A48-ABE9-B6CBA87EB5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6151564" y="304802"/>
            <a:ext cx="5730874" cy="573087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5" y="304802"/>
            <a:ext cx="3115062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838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ORLD MAP">
    <p:bg>
      <p:bgPr>
        <a:solidFill>
          <a:srgbClr val="2B00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4B2E09-5AA7-F94D-929B-98BBF584D59A}" type="datetime3">
              <a:rPr lang="en-US" smtClean="0"/>
              <a:pPr/>
              <a:t>22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1A1175-CF73-5649-9406-0D82488373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5118" y="718540"/>
            <a:ext cx="11412636" cy="56562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2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TANGERINE COMMUNIT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B5DBBAE-2EFD-2244-9EB2-5B025B1584F2}"/>
              </a:ext>
            </a:extLst>
          </p:cNvPr>
          <p:cNvSpPr/>
          <p:nvPr userDrawn="1"/>
        </p:nvSpPr>
        <p:spPr>
          <a:xfrm>
            <a:off x="0" y="6080499"/>
            <a:ext cx="764088" cy="764088"/>
          </a:xfrm>
          <a:prstGeom prst="rect">
            <a:avLst/>
          </a:prstGeom>
          <a:solidFill>
            <a:srgbClr val="FF6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F07272-15A4-0748-999E-8D6BECC86814}" type="datetime3">
              <a:rPr lang="en-US" smtClean="0"/>
              <a:t>22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3524E7-4CDC-944D-AA11-FA206C0D2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6" y="341313"/>
            <a:ext cx="4740274" cy="1141412"/>
          </a:xfrm>
        </p:spPr>
        <p:txBody>
          <a:bodyPr/>
          <a:lstStyle>
            <a:lvl1pPr marL="242888" indent="-227013">
              <a:lnSpc>
                <a:spcPts val="3600"/>
              </a:lnSpc>
              <a:tabLst/>
              <a:defRPr sz="3200" cap="none" baseline="0">
                <a:solidFill>
                  <a:schemeClr val="bg1"/>
                </a:solidFill>
              </a:defRPr>
            </a:lvl1pPr>
            <a:lvl2pPr marL="242888" indent="0">
              <a:spcBef>
                <a:spcPts val="600"/>
              </a:spcBef>
              <a:buFontTx/>
              <a:buNone/>
              <a:tabLst/>
              <a:defRPr sz="1400" b="1" cap="all" baseline="0">
                <a:solidFill>
                  <a:schemeClr val="bg1"/>
                </a:solidFill>
              </a:defRPr>
            </a:lvl2pPr>
            <a:lvl3pPr marL="242888" indent="0">
              <a:buFontTx/>
              <a:buNone/>
              <a:tabLst/>
              <a:defRPr sz="1400" cap="all" baseline="0">
                <a:solidFill>
                  <a:schemeClr val="bg1"/>
                </a:solidFill>
              </a:defRPr>
            </a:lvl3pPr>
            <a:lvl4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4pPr>
            <a:lvl5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	Quot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05E7F8-BFFF-4854-B6E6-FCA04480712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198876" y="341313"/>
            <a:ext cx="5760071" cy="5758791"/>
            <a:chOff x="3875" y="-667"/>
            <a:chExt cx="4498" cy="4497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7F860D94-8B20-4CF4-8DD3-5C20EA72580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875" y="-667"/>
              <a:ext cx="4498" cy="449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C8947C4-F833-4E96-9D50-5B72CDF670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-667"/>
              <a:ext cx="1503" cy="1503"/>
            </a:xfrm>
            <a:custGeom>
              <a:avLst/>
              <a:gdLst>
                <a:gd name="T0" fmla="*/ 959 w 959"/>
                <a:gd name="T1" fmla="*/ 479 h 959"/>
                <a:gd name="T2" fmla="*/ 959 w 959"/>
                <a:gd name="T3" fmla="*/ 479 h 959"/>
                <a:gd name="T4" fmla="*/ 479 w 959"/>
                <a:gd name="T5" fmla="*/ 959 h 959"/>
                <a:gd name="T6" fmla="*/ 0 w 959"/>
                <a:gd name="T7" fmla="*/ 479 h 959"/>
                <a:gd name="T8" fmla="*/ 479 w 959"/>
                <a:gd name="T9" fmla="*/ 0 h 959"/>
                <a:gd name="T10" fmla="*/ 959 w 959"/>
                <a:gd name="T11" fmla="*/ 479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9" h="959">
                  <a:moveTo>
                    <a:pt x="959" y="479"/>
                  </a:moveTo>
                  <a:lnTo>
                    <a:pt x="959" y="479"/>
                  </a:lnTo>
                  <a:cubicBezTo>
                    <a:pt x="959" y="744"/>
                    <a:pt x="745" y="959"/>
                    <a:pt x="479" y="959"/>
                  </a:cubicBezTo>
                  <a:cubicBezTo>
                    <a:pt x="214" y="959"/>
                    <a:pt x="0" y="744"/>
                    <a:pt x="0" y="479"/>
                  </a:cubicBezTo>
                  <a:cubicBezTo>
                    <a:pt x="0" y="213"/>
                    <a:pt x="214" y="0"/>
                    <a:pt x="479" y="0"/>
                  </a:cubicBezTo>
                  <a:cubicBezTo>
                    <a:pt x="745" y="0"/>
                    <a:pt x="959" y="213"/>
                    <a:pt x="959" y="479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9B0B8E4-E660-4E00-8AD0-A624BD4D23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8" y="-667"/>
              <a:ext cx="1505" cy="1503"/>
            </a:xfrm>
            <a:custGeom>
              <a:avLst/>
              <a:gdLst>
                <a:gd name="T0" fmla="*/ 960 w 960"/>
                <a:gd name="T1" fmla="*/ 479 h 959"/>
                <a:gd name="T2" fmla="*/ 960 w 960"/>
                <a:gd name="T3" fmla="*/ 479 h 959"/>
                <a:gd name="T4" fmla="*/ 480 w 960"/>
                <a:gd name="T5" fmla="*/ 959 h 959"/>
                <a:gd name="T6" fmla="*/ 0 w 960"/>
                <a:gd name="T7" fmla="*/ 479 h 959"/>
                <a:gd name="T8" fmla="*/ 480 w 960"/>
                <a:gd name="T9" fmla="*/ 0 h 959"/>
                <a:gd name="T10" fmla="*/ 960 w 960"/>
                <a:gd name="T11" fmla="*/ 479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59">
                  <a:moveTo>
                    <a:pt x="960" y="479"/>
                  </a:moveTo>
                  <a:lnTo>
                    <a:pt x="960" y="479"/>
                  </a:lnTo>
                  <a:cubicBezTo>
                    <a:pt x="960" y="744"/>
                    <a:pt x="746" y="959"/>
                    <a:pt x="480" y="959"/>
                  </a:cubicBezTo>
                  <a:cubicBezTo>
                    <a:pt x="215" y="959"/>
                    <a:pt x="0" y="744"/>
                    <a:pt x="0" y="479"/>
                  </a:cubicBezTo>
                  <a:cubicBezTo>
                    <a:pt x="0" y="213"/>
                    <a:pt x="215" y="0"/>
                    <a:pt x="480" y="0"/>
                  </a:cubicBezTo>
                  <a:cubicBezTo>
                    <a:pt x="746" y="0"/>
                    <a:pt x="960" y="213"/>
                    <a:pt x="960" y="479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9EA2C4C6-405C-4E47-B94A-3114ABF74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" y="-667"/>
              <a:ext cx="1505" cy="1503"/>
            </a:xfrm>
            <a:custGeom>
              <a:avLst/>
              <a:gdLst>
                <a:gd name="T0" fmla="*/ 960 w 960"/>
                <a:gd name="T1" fmla="*/ 479 h 959"/>
                <a:gd name="T2" fmla="*/ 960 w 960"/>
                <a:gd name="T3" fmla="*/ 479 h 959"/>
                <a:gd name="T4" fmla="*/ 480 w 960"/>
                <a:gd name="T5" fmla="*/ 959 h 959"/>
                <a:gd name="T6" fmla="*/ 0 w 960"/>
                <a:gd name="T7" fmla="*/ 479 h 959"/>
                <a:gd name="T8" fmla="*/ 480 w 960"/>
                <a:gd name="T9" fmla="*/ 0 h 959"/>
                <a:gd name="T10" fmla="*/ 960 w 960"/>
                <a:gd name="T11" fmla="*/ 479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59">
                  <a:moveTo>
                    <a:pt x="960" y="479"/>
                  </a:moveTo>
                  <a:lnTo>
                    <a:pt x="960" y="479"/>
                  </a:lnTo>
                  <a:cubicBezTo>
                    <a:pt x="960" y="744"/>
                    <a:pt x="746" y="959"/>
                    <a:pt x="480" y="959"/>
                  </a:cubicBezTo>
                  <a:cubicBezTo>
                    <a:pt x="215" y="959"/>
                    <a:pt x="0" y="744"/>
                    <a:pt x="0" y="479"/>
                  </a:cubicBezTo>
                  <a:cubicBezTo>
                    <a:pt x="0" y="213"/>
                    <a:pt x="215" y="0"/>
                    <a:pt x="480" y="0"/>
                  </a:cubicBezTo>
                  <a:cubicBezTo>
                    <a:pt x="746" y="0"/>
                    <a:pt x="960" y="213"/>
                    <a:pt x="960" y="479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EA6BEFF-BF53-434E-8A49-CD6304A283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836"/>
              <a:ext cx="1503" cy="1505"/>
            </a:xfrm>
            <a:custGeom>
              <a:avLst/>
              <a:gdLst>
                <a:gd name="T0" fmla="*/ 959 w 959"/>
                <a:gd name="T1" fmla="*/ 480 h 960"/>
                <a:gd name="T2" fmla="*/ 959 w 959"/>
                <a:gd name="T3" fmla="*/ 480 h 960"/>
                <a:gd name="T4" fmla="*/ 479 w 959"/>
                <a:gd name="T5" fmla="*/ 960 h 960"/>
                <a:gd name="T6" fmla="*/ 0 w 959"/>
                <a:gd name="T7" fmla="*/ 480 h 960"/>
                <a:gd name="T8" fmla="*/ 479 w 959"/>
                <a:gd name="T9" fmla="*/ 0 h 960"/>
                <a:gd name="T10" fmla="*/ 959 w 959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9" h="960">
                  <a:moveTo>
                    <a:pt x="959" y="480"/>
                  </a:moveTo>
                  <a:lnTo>
                    <a:pt x="959" y="480"/>
                  </a:lnTo>
                  <a:cubicBezTo>
                    <a:pt x="959" y="745"/>
                    <a:pt x="745" y="960"/>
                    <a:pt x="479" y="960"/>
                  </a:cubicBezTo>
                  <a:cubicBezTo>
                    <a:pt x="214" y="960"/>
                    <a:pt x="0" y="745"/>
                    <a:pt x="0" y="480"/>
                  </a:cubicBezTo>
                  <a:cubicBezTo>
                    <a:pt x="0" y="214"/>
                    <a:pt x="214" y="0"/>
                    <a:pt x="479" y="0"/>
                  </a:cubicBezTo>
                  <a:cubicBezTo>
                    <a:pt x="745" y="0"/>
                    <a:pt x="959" y="214"/>
                    <a:pt x="959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9E044A9D-29C1-4EA1-82ED-9BE0B8A679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8" y="836"/>
              <a:ext cx="1505" cy="1505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7967AD3-9699-483F-963E-7DDADA633A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" y="836"/>
              <a:ext cx="1505" cy="1505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96C94242-5213-438F-B495-E50304E1D1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2341"/>
              <a:ext cx="1503" cy="1504"/>
            </a:xfrm>
            <a:custGeom>
              <a:avLst/>
              <a:gdLst>
                <a:gd name="T0" fmla="*/ 959 w 959"/>
                <a:gd name="T1" fmla="*/ 480 h 960"/>
                <a:gd name="T2" fmla="*/ 959 w 959"/>
                <a:gd name="T3" fmla="*/ 480 h 960"/>
                <a:gd name="T4" fmla="*/ 479 w 959"/>
                <a:gd name="T5" fmla="*/ 960 h 960"/>
                <a:gd name="T6" fmla="*/ 0 w 959"/>
                <a:gd name="T7" fmla="*/ 480 h 960"/>
                <a:gd name="T8" fmla="*/ 479 w 959"/>
                <a:gd name="T9" fmla="*/ 0 h 960"/>
                <a:gd name="T10" fmla="*/ 959 w 959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9" h="960">
                  <a:moveTo>
                    <a:pt x="959" y="480"/>
                  </a:moveTo>
                  <a:lnTo>
                    <a:pt x="959" y="480"/>
                  </a:lnTo>
                  <a:cubicBezTo>
                    <a:pt x="959" y="745"/>
                    <a:pt x="745" y="960"/>
                    <a:pt x="479" y="960"/>
                  </a:cubicBezTo>
                  <a:cubicBezTo>
                    <a:pt x="214" y="960"/>
                    <a:pt x="0" y="745"/>
                    <a:pt x="0" y="480"/>
                  </a:cubicBezTo>
                  <a:cubicBezTo>
                    <a:pt x="0" y="214"/>
                    <a:pt x="214" y="0"/>
                    <a:pt x="479" y="0"/>
                  </a:cubicBezTo>
                  <a:cubicBezTo>
                    <a:pt x="745" y="0"/>
                    <a:pt x="959" y="214"/>
                    <a:pt x="959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E821AEC0-B07B-4385-B8C0-63F0DF350B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8" y="2341"/>
              <a:ext cx="1505" cy="1504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F6C47BB6-8E1A-4713-87AE-0BEDA08993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" y="2341"/>
              <a:ext cx="1505" cy="1504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4306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2DBA39E-56F5-BC41-88A8-C93F16A84D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91000" y="0"/>
            <a:ext cx="8001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F8964B-446E-124E-9C40-795014D96DC3}" type="datetime3">
              <a:rPr lang="en-US" smtClean="0"/>
              <a:t>22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3524E7-4CDC-944D-AA11-FA206C0D2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6" y="341313"/>
            <a:ext cx="3760787" cy="1141412"/>
          </a:xfrm>
        </p:spPr>
        <p:txBody>
          <a:bodyPr/>
          <a:lstStyle>
            <a:lvl1pPr marL="242888" indent="-227013">
              <a:lnSpc>
                <a:spcPts val="4200"/>
              </a:lnSpc>
              <a:tabLst/>
              <a:defRPr sz="3200" cap="none" baseline="0">
                <a:solidFill>
                  <a:schemeClr val="tx1"/>
                </a:solidFill>
              </a:defRPr>
            </a:lvl1pPr>
            <a:lvl2pPr marL="242888" indent="0">
              <a:spcBef>
                <a:spcPts val="600"/>
              </a:spcBef>
              <a:buFontTx/>
              <a:buNone/>
              <a:tabLst/>
              <a:defRPr sz="1400" b="1" cap="all" baseline="0">
                <a:solidFill>
                  <a:schemeClr val="tx1"/>
                </a:solidFill>
              </a:defRPr>
            </a:lvl2pPr>
            <a:lvl3pPr marL="242888" indent="0">
              <a:buFontTx/>
              <a:buNone/>
              <a:tabLst/>
              <a:defRPr sz="1400" cap="all" baseline="0">
                <a:solidFill>
                  <a:schemeClr val="tx1"/>
                </a:solidFill>
              </a:defRPr>
            </a:lvl3pPr>
            <a:lvl4pPr marL="17463" indent="0">
              <a:buFontTx/>
              <a:buNone/>
              <a:tabLst/>
              <a:defRPr sz="3200">
                <a:solidFill>
                  <a:schemeClr val="tx1"/>
                </a:solidFill>
              </a:defRPr>
            </a:lvl4pPr>
            <a:lvl5pPr marL="17463" indent="0">
              <a:buFontTx/>
              <a:buNone/>
              <a:tabLst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“	Quot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17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A68A428-BAF3-514A-BD02-2396365EE3F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8043CF-4FB5-F147-9BE4-BDE679ABC9CD}" type="datetime3">
              <a:rPr lang="en-US" smtClean="0"/>
              <a:t>22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3524E7-4CDC-944D-AA11-FA206C0D2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6" y="341313"/>
            <a:ext cx="3760787" cy="1141412"/>
          </a:xfrm>
        </p:spPr>
        <p:txBody>
          <a:bodyPr/>
          <a:lstStyle>
            <a:lvl1pPr marL="242888" indent="-227013">
              <a:lnSpc>
                <a:spcPts val="4200"/>
              </a:lnSpc>
              <a:tabLst/>
              <a:defRPr sz="3200" cap="none" baseline="0">
                <a:solidFill>
                  <a:schemeClr val="bg1"/>
                </a:solidFill>
              </a:defRPr>
            </a:lvl1pPr>
            <a:lvl2pPr marL="242888" indent="0">
              <a:spcBef>
                <a:spcPts val="600"/>
              </a:spcBef>
              <a:buFontTx/>
              <a:buNone/>
              <a:tabLst/>
              <a:defRPr sz="1400" b="1" cap="all" baseline="0">
                <a:solidFill>
                  <a:schemeClr val="bg1"/>
                </a:solidFill>
              </a:defRPr>
            </a:lvl2pPr>
            <a:lvl3pPr marL="242888" indent="0">
              <a:buFontTx/>
              <a:buNone/>
              <a:tabLst/>
              <a:defRPr sz="1400" cap="all" baseline="0">
                <a:solidFill>
                  <a:schemeClr val="bg1"/>
                </a:solidFill>
              </a:defRPr>
            </a:lvl3pPr>
            <a:lvl4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4pPr>
            <a:lvl5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	Quot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522E1C-1301-0448-B26E-22AB81CB01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285" y="5187550"/>
            <a:ext cx="863600" cy="863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C32B95-5454-0F45-91FC-4B9C3F2E56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14070" y="3224893"/>
            <a:ext cx="864453" cy="8644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8DF3E4-C99C-F54D-9967-C9859511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4070" y="1302004"/>
            <a:ext cx="855663" cy="8556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C10FF9-D064-E549-8FFE-2967DFB3D6C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87519" y="5232181"/>
            <a:ext cx="849311" cy="8493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DCF404A-CD11-014B-850A-0DEFD74DCA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9078118" y="1287463"/>
            <a:ext cx="849312" cy="84931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D4D75CB-2025-994D-A230-C5B351D7637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 rot="16200000">
            <a:off x="11015091" y="4229836"/>
            <a:ext cx="847725" cy="8477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6F0B838-2D08-FB4F-8A7C-9A51932B636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0058347" y="292894"/>
            <a:ext cx="869156" cy="8691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00B4217-3240-DA45-9B16-53450D607F5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44113" y="2262188"/>
            <a:ext cx="847725" cy="8477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5298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BLUE MULTI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4842891" cy="961962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A42439-A9CE-0B42-AF84-203A508965B7}"/>
              </a:ext>
            </a:extLst>
          </p:cNvPr>
          <p:cNvSpPr/>
          <p:nvPr userDrawn="1"/>
        </p:nvSpPr>
        <p:spPr>
          <a:xfrm>
            <a:off x="0" y="6080499"/>
            <a:ext cx="764088" cy="764088"/>
          </a:xfrm>
          <a:prstGeom prst="rect">
            <a:avLst/>
          </a:prstGeom>
          <a:solidFill>
            <a:srgbClr val="06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C7D827-D31E-AE44-AD3E-AE621346A3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5589" y="6248181"/>
            <a:ext cx="411480" cy="4114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6915" y="3253101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7250" y="2252663"/>
            <a:ext cx="864453" cy="8644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9537E7A-1C25-2C41-A190-05050CC53E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76576" y="4198938"/>
            <a:ext cx="847725" cy="84772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20516" y="2252663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10042526" y="4231936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0022682" y="258988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042790" y="5195488"/>
            <a:ext cx="847725" cy="847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E8B41F-2066-2542-8B55-00B3A99114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157165" y="3232152"/>
            <a:ext cx="849311" cy="84931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A4EF2AE-B99C-A040-A78B-F57F39D8501E}"/>
              </a:ext>
            </a:extLst>
          </p:cNvPr>
          <p:cNvSpPr/>
          <p:nvPr userDrawn="1"/>
        </p:nvSpPr>
        <p:spPr>
          <a:xfrm>
            <a:off x="16606" y="6093912"/>
            <a:ext cx="1032112" cy="764088"/>
          </a:xfrm>
          <a:prstGeom prst="rect">
            <a:avLst/>
          </a:prstGeom>
          <a:solidFill>
            <a:srgbClr val="05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E85A7E4-2FFE-0946-A6A4-F5850AC16E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20516" y="5175477"/>
            <a:ext cx="854075" cy="85407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A90BBA-61FE-FC47-9A99-54BEB00FC5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4325" y="5081588"/>
            <a:ext cx="4740275" cy="1012825"/>
          </a:xfrm>
        </p:spPr>
        <p:txBody>
          <a:bodyPr/>
          <a:lstStyle>
            <a:lvl1pPr>
              <a:spcBef>
                <a:spcPts val="0"/>
              </a:spcBef>
              <a:defRPr sz="1400" cap="all" baseline="0">
                <a:solidFill>
                  <a:schemeClr val="bg1"/>
                </a:solidFill>
              </a:defRPr>
            </a:lvl1pPr>
            <a:lvl2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5" y="304802"/>
            <a:ext cx="3115062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452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MI RGB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2DF4E-9F15-7448-8B6E-B9F8DAB7F757}" type="datetime3">
              <a:rPr lang="en-US" smtClean="0"/>
              <a:t>22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A7FC9E-D21E-0842-B9A4-C1381DD0D750}"/>
              </a:ext>
            </a:extLst>
          </p:cNvPr>
          <p:cNvSpPr/>
          <p:nvPr userDrawn="1"/>
        </p:nvSpPr>
        <p:spPr>
          <a:xfrm>
            <a:off x="8089897" y="1287463"/>
            <a:ext cx="2801941" cy="846137"/>
          </a:xfrm>
          <a:prstGeom prst="rect">
            <a:avLst/>
          </a:prstGeom>
          <a:solidFill>
            <a:srgbClr val="4F17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VIOLET</a:t>
            </a:r>
          </a:p>
          <a:p>
            <a:pPr algn="l"/>
            <a:r>
              <a:rPr lang="en-US" sz="1800" b="1" dirty="0"/>
              <a:t>79</a:t>
            </a:r>
            <a:r>
              <a:rPr lang="en-US" sz="1800" dirty="0"/>
              <a:t>  /  </a:t>
            </a:r>
            <a:r>
              <a:rPr lang="en-US" sz="1800" b="1" dirty="0"/>
              <a:t>23</a:t>
            </a:r>
            <a:r>
              <a:rPr lang="en-US" sz="1800" dirty="0"/>
              <a:t>  /  </a:t>
            </a:r>
            <a:r>
              <a:rPr lang="en-US" sz="1800" b="1" dirty="0"/>
              <a:t>168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A261B9-ADC3-7D43-A0C2-8F1E9644156B}"/>
              </a:ext>
            </a:extLst>
          </p:cNvPr>
          <p:cNvSpPr/>
          <p:nvPr userDrawn="1"/>
        </p:nvSpPr>
        <p:spPr>
          <a:xfrm>
            <a:off x="8089897" y="2252663"/>
            <a:ext cx="2809876" cy="863600"/>
          </a:xfrm>
          <a:prstGeom prst="rect">
            <a:avLst/>
          </a:prstGeom>
          <a:solidFill>
            <a:srgbClr val="2B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DARK VIOLET</a:t>
            </a:r>
          </a:p>
          <a:p>
            <a:pPr algn="l"/>
            <a:r>
              <a:rPr lang="en-US" sz="1800" b="1" dirty="0"/>
              <a:t>43</a:t>
            </a:r>
            <a:r>
              <a:rPr lang="en-US" sz="1800" dirty="0"/>
              <a:t>  /  </a:t>
            </a:r>
            <a:r>
              <a:rPr lang="en-US" sz="1800" b="1" dirty="0"/>
              <a:t>0</a:t>
            </a:r>
            <a:r>
              <a:rPr lang="en-US" sz="1800" dirty="0"/>
              <a:t>  /  </a:t>
            </a:r>
            <a:r>
              <a:rPr lang="en-US" sz="1800" b="1" dirty="0"/>
              <a:t>14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5E0A6B-1DE3-8942-9126-297061B387D2}"/>
              </a:ext>
            </a:extLst>
          </p:cNvPr>
          <p:cNvSpPr/>
          <p:nvPr userDrawn="1"/>
        </p:nvSpPr>
        <p:spPr>
          <a:xfrm>
            <a:off x="8097838" y="3233738"/>
            <a:ext cx="2809876" cy="846137"/>
          </a:xfrm>
          <a:prstGeom prst="rect">
            <a:avLst/>
          </a:prstGeom>
          <a:solidFill>
            <a:srgbClr val="8A66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MID VIOLET</a:t>
            </a:r>
          </a:p>
          <a:p>
            <a:pPr algn="l"/>
            <a:r>
              <a:rPr lang="en-US" sz="1800" b="1" dirty="0"/>
              <a:t>138</a:t>
            </a:r>
            <a:r>
              <a:rPr lang="en-US" sz="1800" dirty="0"/>
              <a:t>  /  </a:t>
            </a:r>
            <a:r>
              <a:rPr lang="en-US" sz="1800" b="1" dirty="0"/>
              <a:t>102</a:t>
            </a:r>
            <a:r>
              <a:rPr lang="en-US" sz="1800" dirty="0"/>
              <a:t>  /  </a:t>
            </a:r>
            <a:r>
              <a:rPr lang="en-US" sz="1800" b="1" dirty="0"/>
              <a:t>196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37323-D8AF-604E-8FF2-9AAD1275006C}"/>
              </a:ext>
            </a:extLst>
          </p:cNvPr>
          <p:cNvSpPr/>
          <p:nvPr userDrawn="1"/>
        </p:nvSpPr>
        <p:spPr>
          <a:xfrm>
            <a:off x="8097837" y="4194020"/>
            <a:ext cx="2794001" cy="855043"/>
          </a:xfrm>
          <a:prstGeom prst="rect">
            <a:avLst/>
          </a:prstGeom>
          <a:solidFill>
            <a:srgbClr val="C4B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IGHT VIOLET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196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178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2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2AEF3-06EF-774F-8498-183D41E71AE0}"/>
              </a:ext>
            </a:extLst>
          </p:cNvPr>
          <p:cNvSpPr/>
          <p:nvPr userDrawn="1"/>
        </p:nvSpPr>
        <p:spPr>
          <a:xfrm>
            <a:off x="314325" y="1287463"/>
            <a:ext cx="2787650" cy="846137"/>
          </a:xfrm>
          <a:prstGeom prst="rect">
            <a:avLst/>
          </a:prstGeom>
          <a:solidFill>
            <a:srgbClr val="FF61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TANGERINE</a:t>
            </a:r>
          </a:p>
          <a:p>
            <a:pPr algn="l"/>
            <a:r>
              <a:rPr lang="en-US" sz="1800" b="1" dirty="0"/>
              <a:t>255</a:t>
            </a:r>
            <a:r>
              <a:rPr lang="en-US" sz="1800" dirty="0"/>
              <a:t>  /  </a:t>
            </a:r>
            <a:r>
              <a:rPr lang="en-US" sz="1800" b="1" dirty="0"/>
              <a:t>97</a:t>
            </a:r>
            <a:r>
              <a:rPr lang="en-US" sz="1800" dirty="0"/>
              <a:t>  /  </a:t>
            </a:r>
            <a:r>
              <a:rPr lang="en-US" sz="1800" b="1" dirty="0"/>
              <a:t>1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DEB17-94FF-E548-B97A-16818CD14EC9}"/>
              </a:ext>
            </a:extLst>
          </p:cNvPr>
          <p:cNvSpPr/>
          <p:nvPr userDrawn="1"/>
        </p:nvSpPr>
        <p:spPr>
          <a:xfrm>
            <a:off x="314325" y="2252663"/>
            <a:ext cx="2787650" cy="863600"/>
          </a:xfrm>
          <a:prstGeom prst="rect">
            <a:avLst/>
          </a:prstGeom>
          <a:solidFill>
            <a:srgbClr val="DD3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DARK TANGERINE</a:t>
            </a:r>
          </a:p>
          <a:p>
            <a:pPr algn="l"/>
            <a:r>
              <a:rPr lang="en-US" sz="1800" b="1" dirty="0"/>
              <a:t>221</a:t>
            </a:r>
            <a:r>
              <a:rPr lang="en-US" sz="1800" dirty="0"/>
              <a:t>  /  </a:t>
            </a:r>
            <a:r>
              <a:rPr lang="en-US" sz="1800" b="1" dirty="0"/>
              <a:t>49</a:t>
            </a:r>
            <a:r>
              <a:rPr lang="en-US" sz="1800" dirty="0"/>
              <a:t>  /  </a:t>
            </a:r>
            <a:r>
              <a:rPr lang="en-US" sz="1800" b="1" dirty="0"/>
              <a:t>1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E6301F3-2A0E-1D4A-92D3-8186F8681165}"/>
              </a:ext>
            </a:extLst>
          </p:cNvPr>
          <p:cNvSpPr/>
          <p:nvPr userDrawn="1"/>
        </p:nvSpPr>
        <p:spPr>
          <a:xfrm>
            <a:off x="314325" y="3235326"/>
            <a:ext cx="2787650" cy="846137"/>
          </a:xfrm>
          <a:prstGeom prst="rect">
            <a:avLst/>
          </a:prstGeom>
          <a:solidFill>
            <a:srgbClr val="FF94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MID TANGRINE</a:t>
            </a:r>
          </a:p>
          <a:p>
            <a:pPr algn="l"/>
            <a:r>
              <a:rPr lang="en-US" sz="1800" b="1" dirty="0"/>
              <a:t>255</a:t>
            </a:r>
            <a:r>
              <a:rPr lang="en-US" sz="1800" dirty="0"/>
              <a:t>  /  </a:t>
            </a:r>
            <a:r>
              <a:rPr lang="en-US" sz="1800" b="1" dirty="0"/>
              <a:t>148</a:t>
            </a:r>
            <a:r>
              <a:rPr lang="en-US" sz="1800" dirty="0"/>
              <a:t>  /  </a:t>
            </a:r>
            <a:r>
              <a:rPr lang="en-US" sz="1800" b="1" dirty="0"/>
              <a:t>97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51547C-C161-5F48-BDAC-1F1EFD24AE21}"/>
              </a:ext>
            </a:extLst>
          </p:cNvPr>
          <p:cNvSpPr/>
          <p:nvPr userDrawn="1"/>
        </p:nvSpPr>
        <p:spPr>
          <a:xfrm>
            <a:off x="314325" y="4194280"/>
            <a:ext cx="2787650" cy="863601"/>
          </a:xfrm>
          <a:prstGeom prst="rect">
            <a:avLst/>
          </a:prstGeom>
          <a:solidFill>
            <a:srgbClr val="FFC9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IGHT TANGERINE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55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01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17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6CA985-13CB-2749-9593-531A5F61859C}"/>
              </a:ext>
            </a:extLst>
          </p:cNvPr>
          <p:cNvSpPr/>
          <p:nvPr userDrawn="1"/>
        </p:nvSpPr>
        <p:spPr>
          <a:xfrm>
            <a:off x="4190999" y="1287463"/>
            <a:ext cx="2809875" cy="846137"/>
          </a:xfrm>
          <a:prstGeom prst="rect">
            <a:avLst/>
          </a:prstGeom>
          <a:solidFill>
            <a:srgbClr val="05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AQUA</a:t>
            </a:r>
          </a:p>
          <a:p>
            <a:pPr algn="l"/>
            <a:r>
              <a:rPr lang="en-US" sz="1800" b="1" dirty="0"/>
              <a:t>5</a:t>
            </a:r>
            <a:r>
              <a:rPr lang="en-US" sz="1800" dirty="0"/>
              <a:t>  /  </a:t>
            </a:r>
            <a:r>
              <a:rPr lang="en-US" sz="1800" b="1" dirty="0"/>
              <a:t>191</a:t>
            </a:r>
            <a:r>
              <a:rPr lang="en-US" sz="1800" dirty="0"/>
              <a:t>  /  </a:t>
            </a:r>
            <a:r>
              <a:rPr lang="en-US" sz="1800" b="1" dirty="0"/>
              <a:t>22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69A89E-34CE-C740-B050-0BDE98D1DC38}"/>
              </a:ext>
            </a:extLst>
          </p:cNvPr>
          <p:cNvSpPr/>
          <p:nvPr userDrawn="1"/>
        </p:nvSpPr>
        <p:spPr>
          <a:xfrm>
            <a:off x="4191000" y="2252663"/>
            <a:ext cx="2809876" cy="863600"/>
          </a:xfrm>
          <a:prstGeom prst="rect">
            <a:avLst/>
          </a:prstGeom>
          <a:solidFill>
            <a:srgbClr val="0080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DARK AQUA</a:t>
            </a:r>
          </a:p>
          <a:p>
            <a:pPr algn="l"/>
            <a:r>
              <a:rPr lang="en-US" sz="1800" b="1" dirty="0"/>
              <a:t>0</a:t>
            </a:r>
            <a:r>
              <a:rPr lang="en-US" sz="1800" dirty="0"/>
              <a:t>  /  </a:t>
            </a:r>
            <a:r>
              <a:rPr lang="en-US" sz="1800" b="1" dirty="0"/>
              <a:t>128</a:t>
            </a:r>
            <a:r>
              <a:rPr lang="en-US" sz="1800" dirty="0"/>
              <a:t>  /  </a:t>
            </a:r>
            <a:r>
              <a:rPr lang="en-US" sz="1800" b="1" dirty="0"/>
              <a:t>168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BD599D-BD2F-634C-81A9-D0D58E47B24F}"/>
              </a:ext>
            </a:extLst>
          </p:cNvPr>
          <p:cNvSpPr/>
          <p:nvPr userDrawn="1"/>
        </p:nvSpPr>
        <p:spPr>
          <a:xfrm>
            <a:off x="4191000" y="3235326"/>
            <a:ext cx="2809876" cy="863600"/>
          </a:xfrm>
          <a:prstGeom prst="rect">
            <a:avLst/>
          </a:prstGeom>
          <a:solidFill>
            <a:srgbClr val="59D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MID AQUA</a:t>
            </a:r>
          </a:p>
          <a:p>
            <a:pPr algn="l"/>
            <a:r>
              <a:rPr lang="en-US" sz="1800" b="1" dirty="0"/>
              <a:t>89</a:t>
            </a:r>
            <a:r>
              <a:rPr lang="en-US" sz="1800" dirty="0"/>
              <a:t>  /  </a:t>
            </a:r>
            <a:r>
              <a:rPr lang="en-US" sz="1800" b="1" dirty="0"/>
              <a:t>212</a:t>
            </a:r>
            <a:r>
              <a:rPr lang="en-US" sz="1800" dirty="0"/>
              <a:t>  /  </a:t>
            </a:r>
            <a:r>
              <a:rPr lang="en-US" sz="1800" b="1" dirty="0"/>
              <a:t>23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5F7047-EDC6-C34C-BC89-12A5B602FFA9}"/>
              </a:ext>
            </a:extLst>
          </p:cNvPr>
          <p:cNvSpPr/>
          <p:nvPr userDrawn="1"/>
        </p:nvSpPr>
        <p:spPr>
          <a:xfrm>
            <a:off x="4191001" y="4217989"/>
            <a:ext cx="2809873" cy="831074"/>
          </a:xfrm>
          <a:prstGeom prst="rect">
            <a:avLst/>
          </a:prstGeom>
          <a:solidFill>
            <a:srgbClr val="ABE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IGHT AQUA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171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32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4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11FCDB0-D573-CD46-8B3D-E23EAD152EEE}"/>
              </a:ext>
            </a:extLst>
          </p:cNvPr>
          <p:cNvSpPr/>
          <p:nvPr userDrawn="1"/>
        </p:nvSpPr>
        <p:spPr>
          <a:xfrm>
            <a:off x="8097837" y="5192007"/>
            <a:ext cx="2794001" cy="846137"/>
          </a:xfrm>
          <a:prstGeom prst="rect">
            <a:avLst/>
          </a:prstGeom>
          <a:solidFill>
            <a:srgbClr val="E5D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VIOLET BACKGROUND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29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20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4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6D8B3C-DBF9-9F49-B806-74219B2B2572}"/>
              </a:ext>
            </a:extLst>
          </p:cNvPr>
          <p:cNvSpPr/>
          <p:nvPr userDrawn="1"/>
        </p:nvSpPr>
        <p:spPr>
          <a:xfrm>
            <a:off x="314325" y="5181600"/>
            <a:ext cx="2787650" cy="856544"/>
          </a:xfrm>
          <a:prstGeom prst="rect">
            <a:avLst/>
          </a:prstGeom>
          <a:solidFill>
            <a:srgbClr val="FFE7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spc="0" dirty="0">
                <a:solidFill>
                  <a:schemeClr val="tx1"/>
                </a:solidFill>
              </a:rPr>
              <a:t>TANGERINE BACKGROUND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55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31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1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435BA44-78E2-0B48-A9DB-999F6BA91E7C}"/>
              </a:ext>
            </a:extLst>
          </p:cNvPr>
          <p:cNvSpPr/>
          <p:nvPr userDrawn="1"/>
        </p:nvSpPr>
        <p:spPr>
          <a:xfrm>
            <a:off x="4191000" y="5181599"/>
            <a:ext cx="2809874" cy="856545"/>
          </a:xfrm>
          <a:prstGeom prst="rect">
            <a:avLst/>
          </a:prstGeom>
          <a:solidFill>
            <a:srgbClr val="DA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AQUA BACKGROUND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18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45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5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F564D1-5342-4E4E-9F30-FF25D8C92B24}"/>
              </a:ext>
            </a:extLst>
          </p:cNvPr>
          <p:cNvSpPr txBox="1"/>
          <p:nvPr userDrawn="1"/>
        </p:nvSpPr>
        <p:spPr>
          <a:xfrm>
            <a:off x="314325" y="307975"/>
            <a:ext cx="115585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MI RGB COLOR PALETTE</a:t>
            </a:r>
          </a:p>
          <a:p>
            <a:r>
              <a:rPr lang="en-US" dirty="0"/>
              <a:t>To quickly select a color you may copy and paste a color square or use the eyedropper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805AAD-A141-EC4A-845B-673261D4FC5B}"/>
              </a:ext>
            </a:extLst>
          </p:cNvPr>
          <p:cNvSpPr/>
          <p:nvPr userDrawn="1"/>
        </p:nvSpPr>
        <p:spPr>
          <a:xfrm>
            <a:off x="3225800" y="1287463"/>
            <a:ext cx="852219" cy="863601"/>
          </a:xfrm>
          <a:prstGeom prst="rect">
            <a:avLst/>
          </a:prstGeom>
          <a:solidFill>
            <a:srgbClr val="FF61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772C7E-7AE5-6D42-9556-D2AB8C468063}"/>
              </a:ext>
            </a:extLst>
          </p:cNvPr>
          <p:cNvSpPr/>
          <p:nvPr userDrawn="1"/>
        </p:nvSpPr>
        <p:spPr>
          <a:xfrm>
            <a:off x="3225799" y="2268537"/>
            <a:ext cx="852219" cy="847725"/>
          </a:xfrm>
          <a:prstGeom prst="rect">
            <a:avLst/>
          </a:prstGeom>
          <a:solidFill>
            <a:srgbClr val="DD3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46D55C-0BA0-2D4A-B124-85F898C5AD94}"/>
              </a:ext>
            </a:extLst>
          </p:cNvPr>
          <p:cNvSpPr/>
          <p:nvPr userDrawn="1"/>
        </p:nvSpPr>
        <p:spPr>
          <a:xfrm>
            <a:off x="3225799" y="3248800"/>
            <a:ext cx="852219" cy="847725"/>
          </a:xfrm>
          <a:prstGeom prst="rect">
            <a:avLst/>
          </a:prstGeom>
          <a:solidFill>
            <a:srgbClr val="FF94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6B7586-4096-614D-A83C-43B83BE0F580}"/>
              </a:ext>
            </a:extLst>
          </p:cNvPr>
          <p:cNvSpPr/>
          <p:nvPr userDrawn="1"/>
        </p:nvSpPr>
        <p:spPr>
          <a:xfrm>
            <a:off x="3225799" y="4198938"/>
            <a:ext cx="852219" cy="889070"/>
          </a:xfrm>
          <a:prstGeom prst="rect">
            <a:avLst/>
          </a:prstGeom>
          <a:solidFill>
            <a:srgbClr val="FFC9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079991-12C3-D647-AD32-059D91118FAF}"/>
              </a:ext>
            </a:extLst>
          </p:cNvPr>
          <p:cNvSpPr/>
          <p:nvPr userDrawn="1"/>
        </p:nvSpPr>
        <p:spPr>
          <a:xfrm>
            <a:off x="3225799" y="5181599"/>
            <a:ext cx="852219" cy="856545"/>
          </a:xfrm>
          <a:prstGeom prst="rect">
            <a:avLst/>
          </a:prstGeom>
          <a:solidFill>
            <a:srgbClr val="FFE7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12A59A-4BD5-6049-98CC-8C0A8CFCA00A}"/>
              </a:ext>
            </a:extLst>
          </p:cNvPr>
          <p:cNvSpPr/>
          <p:nvPr userDrawn="1"/>
        </p:nvSpPr>
        <p:spPr>
          <a:xfrm>
            <a:off x="7124699" y="1287463"/>
            <a:ext cx="872769" cy="863601"/>
          </a:xfrm>
          <a:prstGeom prst="rect">
            <a:avLst/>
          </a:prstGeom>
          <a:solidFill>
            <a:srgbClr val="05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F79B83B-7D20-F446-8390-380F236539CE}"/>
              </a:ext>
            </a:extLst>
          </p:cNvPr>
          <p:cNvSpPr/>
          <p:nvPr userDrawn="1"/>
        </p:nvSpPr>
        <p:spPr>
          <a:xfrm>
            <a:off x="7124699" y="2252663"/>
            <a:ext cx="872769" cy="863600"/>
          </a:xfrm>
          <a:prstGeom prst="rect">
            <a:avLst/>
          </a:prstGeom>
          <a:solidFill>
            <a:srgbClr val="0080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2E34087-F63C-6548-840E-9A07659253FB}"/>
              </a:ext>
            </a:extLst>
          </p:cNvPr>
          <p:cNvSpPr/>
          <p:nvPr userDrawn="1"/>
        </p:nvSpPr>
        <p:spPr>
          <a:xfrm>
            <a:off x="7124699" y="3233738"/>
            <a:ext cx="872769" cy="847725"/>
          </a:xfrm>
          <a:prstGeom prst="rect">
            <a:avLst/>
          </a:prstGeom>
          <a:solidFill>
            <a:srgbClr val="59D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E36593-1981-9C4C-B82F-F4B1860EEB88}"/>
              </a:ext>
            </a:extLst>
          </p:cNvPr>
          <p:cNvSpPr/>
          <p:nvPr userDrawn="1"/>
        </p:nvSpPr>
        <p:spPr>
          <a:xfrm>
            <a:off x="7124699" y="4198938"/>
            <a:ext cx="872769" cy="863600"/>
          </a:xfrm>
          <a:prstGeom prst="rect">
            <a:avLst/>
          </a:prstGeom>
          <a:solidFill>
            <a:srgbClr val="ABE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57D99B-5237-9A4B-A84C-685716B53561}"/>
              </a:ext>
            </a:extLst>
          </p:cNvPr>
          <p:cNvSpPr/>
          <p:nvPr userDrawn="1"/>
        </p:nvSpPr>
        <p:spPr>
          <a:xfrm>
            <a:off x="7124699" y="5174543"/>
            <a:ext cx="872769" cy="861133"/>
          </a:xfrm>
          <a:prstGeom prst="rect">
            <a:avLst/>
          </a:prstGeom>
          <a:solidFill>
            <a:srgbClr val="DA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DD6D23-F58E-E143-B31D-65A2D038597D}"/>
              </a:ext>
            </a:extLst>
          </p:cNvPr>
          <p:cNvSpPr/>
          <p:nvPr userDrawn="1"/>
        </p:nvSpPr>
        <p:spPr>
          <a:xfrm>
            <a:off x="11017250" y="1287463"/>
            <a:ext cx="860907" cy="846137"/>
          </a:xfrm>
          <a:prstGeom prst="rect">
            <a:avLst/>
          </a:prstGeom>
          <a:solidFill>
            <a:srgbClr val="4F17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2EFD9D-14EF-AF43-B60C-0ACBA98784A5}"/>
              </a:ext>
            </a:extLst>
          </p:cNvPr>
          <p:cNvSpPr/>
          <p:nvPr userDrawn="1"/>
        </p:nvSpPr>
        <p:spPr>
          <a:xfrm>
            <a:off x="11017250" y="2237599"/>
            <a:ext cx="860907" cy="878664"/>
          </a:xfrm>
          <a:prstGeom prst="rect">
            <a:avLst/>
          </a:prstGeom>
          <a:solidFill>
            <a:srgbClr val="2B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C40295-6693-8941-A3A2-9ECBA9E23AF8}"/>
              </a:ext>
            </a:extLst>
          </p:cNvPr>
          <p:cNvSpPr/>
          <p:nvPr userDrawn="1"/>
        </p:nvSpPr>
        <p:spPr>
          <a:xfrm>
            <a:off x="11017250" y="3233738"/>
            <a:ext cx="860907" cy="847725"/>
          </a:xfrm>
          <a:prstGeom prst="rect">
            <a:avLst/>
          </a:prstGeom>
          <a:solidFill>
            <a:srgbClr val="8A66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CFABA0B-5006-F445-BD23-4D781A964994}"/>
              </a:ext>
            </a:extLst>
          </p:cNvPr>
          <p:cNvSpPr/>
          <p:nvPr userDrawn="1"/>
        </p:nvSpPr>
        <p:spPr>
          <a:xfrm>
            <a:off x="11017250" y="4198938"/>
            <a:ext cx="860907" cy="863600"/>
          </a:xfrm>
          <a:prstGeom prst="rect">
            <a:avLst/>
          </a:prstGeom>
          <a:solidFill>
            <a:srgbClr val="C4B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F11402F-669D-AD48-BF89-6A829342B32A}"/>
              </a:ext>
            </a:extLst>
          </p:cNvPr>
          <p:cNvSpPr/>
          <p:nvPr userDrawn="1"/>
        </p:nvSpPr>
        <p:spPr>
          <a:xfrm>
            <a:off x="11017250" y="5174544"/>
            <a:ext cx="860907" cy="861132"/>
          </a:xfrm>
          <a:prstGeom prst="rect">
            <a:avLst/>
          </a:prstGeom>
          <a:solidFill>
            <a:srgbClr val="E5D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546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ANGERINE INNOVA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8554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ANGERINE INNOV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60D67F-0EE6-2C4B-AD7D-FB96FD6C3925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387E57-BD30-C849-B480-B6A138293C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07975"/>
            <a:ext cx="5721350" cy="57213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895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ANGERINE VI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8554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ANGERINE VIS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60D67F-0EE6-2C4B-AD7D-FB96FD6C3925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4E9458-54A6-D341-91E7-60D36F10FD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6157913" y="320676"/>
            <a:ext cx="5714999" cy="57149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411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ANGERIN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5382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ANGERINE PATTER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83B5F5-3AA0-E14F-BD88-9A2770088987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8238" y="4198938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63785" y="1287463"/>
            <a:ext cx="864453" cy="864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6F4148-A6EF-0B41-BA3C-1DBDAAEC3C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08459" y="2260600"/>
            <a:ext cx="855663" cy="8556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9537E7A-1C25-2C41-A190-05050CC53E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44112" y="2268537"/>
            <a:ext cx="847725" cy="8477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220902C-155B-D849-ACE7-AE85807C1B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097837" y="4213226"/>
            <a:ext cx="849311" cy="849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018837" y="5181599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6167435" y="4221043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100000"/>
          </a:blip>
          <a:stretch>
            <a:fillRect/>
          </a:stretch>
        </p:blipFill>
        <p:spPr>
          <a:xfrm>
            <a:off x="9078913" y="3212307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2" y="5195489"/>
            <a:ext cx="847725" cy="8477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6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QUA DETERMINA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AQUA DETERMIN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17D4B4-32E3-1249-8EDD-E372399E7D61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981A9E2-17C2-BC46-8432-722BE0041E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41466" y="323291"/>
            <a:ext cx="5721350" cy="57213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571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QUA OUTCOME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AQUA OUTCOM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17D4B4-32E3-1249-8EDD-E372399E7D61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775A6C-09CC-3043-A416-0769853923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23291"/>
            <a:ext cx="5721350" cy="57213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446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QUA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07343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aqua patter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52173-E8D3-4B4D-8AD0-7DCDFD3AE6A1}" type="datetime3">
              <a:rPr lang="en-US" smtClean="0"/>
              <a:t>22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4113" y="2266214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5474" y="4198938"/>
            <a:ext cx="864453" cy="864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6F4148-A6EF-0B41-BA3C-1DBDAAEC3C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3" y="2252663"/>
            <a:ext cx="855663" cy="8556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9537E7A-1C25-2C41-A190-05050CC53E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180013" y="307975"/>
            <a:ext cx="847725" cy="8477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220902C-155B-D849-ACE7-AE85807C1B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24699" y="5195489"/>
            <a:ext cx="849311" cy="849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28384" y="307975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1041203" y="1287463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100000"/>
          </a:blip>
          <a:stretch>
            <a:fillRect/>
          </a:stretch>
        </p:blipFill>
        <p:spPr>
          <a:xfrm>
            <a:off x="8087519" y="3212307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2" y="4214813"/>
            <a:ext cx="847725" cy="847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E8B41F-2066-2542-8B55-00B3A99114F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44068" y="3232465"/>
            <a:ext cx="849311" cy="84931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6544F6-B72E-C748-B9C0-4584A6B4220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26259" y="2245832"/>
            <a:ext cx="847725" cy="8477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197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5FBECAD-87A7-BB79-B6B4-4EDB4AF13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98302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25" imgH="426" progId="TCLayout.ActiveDocument.1">
                  <p:embed/>
                </p:oleObj>
              </mc:Choice>
              <mc:Fallback>
                <p:oleObj name="think-cell Slide" r:id="rId3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11558588" cy="3781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640541"/>
            <a:ext cx="11558588" cy="4304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078912" y="6356350"/>
            <a:ext cx="1817687" cy="1988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408B322-4539-3841-8FEC-C8BFD8B08418}" type="datetime3">
              <a:rPr lang="en-US" smtClean="0"/>
              <a:t>22 July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51562" y="6355977"/>
            <a:ext cx="2795587" cy="1988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65859" y="6356350"/>
            <a:ext cx="407054" cy="1988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202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6" r:id="rId2"/>
    <p:sldLayoutId id="2147483685" r:id="rId3"/>
    <p:sldLayoutId id="2147483675" r:id="rId4"/>
    <p:sldLayoutId id="2147483687" r:id="rId5"/>
    <p:sldLayoutId id="2147483678" r:id="rId6"/>
    <p:sldLayoutId id="2147483676" r:id="rId7"/>
    <p:sldLayoutId id="2147483688" r:id="rId8"/>
    <p:sldLayoutId id="2147483679" r:id="rId9"/>
    <p:sldLayoutId id="2147483677" r:id="rId10"/>
    <p:sldLayoutId id="2147483689" r:id="rId11"/>
    <p:sldLayoutId id="2147483680" r:id="rId12"/>
    <p:sldLayoutId id="2147483650" r:id="rId13"/>
    <p:sldLayoutId id="2147483652" r:id="rId14"/>
    <p:sldLayoutId id="2147483660" r:id="rId15"/>
    <p:sldLayoutId id="2147483684" r:id="rId16"/>
    <p:sldLayoutId id="2147483661" r:id="rId17"/>
    <p:sldLayoutId id="2147483662" r:id="rId18"/>
    <p:sldLayoutId id="2147483663" r:id="rId19"/>
    <p:sldLayoutId id="2147483664" r:id="rId20"/>
    <p:sldLayoutId id="2147483665" r:id="rId21"/>
    <p:sldLayoutId id="2147483654" r:id="rId22"/>
    <p:sldLayoutId id="2147483666" r:id="rId23"/>
    <p:sldLayoutId id="2147483667" r:id="rId24"/>
    <p:sldLayoutId id="2147483668" r:id="rId25"/>
    <p:sldLayoutId id="2147483669" r:id="rId26"/>
    <p:sldLayoutId id="2147483670" r:id="rId27"/>
    <p:sldLayoutId id="2147483671" r:id="rId28"/>
    <p:sldLayoutId id="2147483655" r:id="rId29"/>
    <p:sldLayoutId id="2147483690" r:id="rId30"/>
    <p:sldLayoutId id="2147483672" r:id="rId31"/>
    <p:sldLayoutId id="2147483681" r:id="rId32"/>
    <p:sldLayoutId id="2147483682" r:id="rId33"/>
    <p:sldLayoutId id="2147483683" r:id="rId34"/>
    <p:sldLayoutId id="2147483674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60000"/>
        <a:buFont typeface="Arial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60000"/>
        <a:buFont typeface="Arial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65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80000"/>
        <a:buFont typeface="System Font Regular"/>
        <a:buChar char="–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93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80000"/>
        <a:buFont typeface="System Font Regular"/>
        <a:buChar char="–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8" userDrawn="1">
          <p15:clr>
            <a:srgbClr val="F26B43"/>
          </p15:clr>
        </p15:guide>
        <p15:guide id="2" orient="horz" pos="194" userDrawn="1">
          <p15:clr>
            <a:srgbClr val="F26B43"/>
          </p15:clr>
        </p15:guide>
        <p15:guide id="3" orient="horz" pos="811" userDrawn="1">
          <p15:clr>
            <a:srgbClr val="F26B43"/>
          </p15:clr>
        </p15:guide>
        <p15:guide id="4" orient="horz" pos="4129" userDrawn="1">
          <p15:clr>
            <a:srgbClr val="F26B43"/>
          </p15:clr>
        </p15:guide>
        <p15:guide id="5" orient="horz" pos="3802" userDrawn="1">
          <p15:clr>
            <a:srgbClr val="F26B43"/>
          </p15:clr>
        </p15:guide>
        <p15:guide id="6" orient="horz" pos="3264" userDrawn="1">
          <p15:clr>
            <a:srgbClr val="F26B43"/>
          </p15:clr>
        </p15:guide>
        <p15:guide id="7" orient="horz" pos="3189" userDrawn="1">
          <p15:clr>
            <a:srgbClr val="F26B43"/>
          </p15:clr>
        </p15:guide>
        <p15:guide id="8" orient="horz" pos="1344" userDrawn="1">
          <p15:clr>
            <a:srgbClr val="F26B43"/>
          </p15:clr>
        </p15:guide>
        <p15:guide id="9" orient="horz" pos="1419" userDrawn="1">
          <p15:clr>
            <a:srgbClr val="F26B43"/>
          </p15:clr>
        </p15:guide>
        <p15:guide id="10" orient="horz" pos="2645" userDrawn="1">
          <p15:clr>
            <a:srgbClr val="F26B43"/>
          </p15:clr>
        </p15:guide>
        <p15:guide id="11" orient="horz" pos="2571" userDrawn="1">
          <p15:clr>
            <a:srgbClr val="F26B43"/>
          </p15:clr>
        </p15:guide>
        <p15:guide id="12" orient="horz" pos="1963" userDrawn="1">
          <p15:clr>
            <a:srgbClr val="F26B43"/>
          </p15:clr>
        </p15:guide>
        <p15:guide id="13" orient="horz" pos="2037" userDrawn="1">
          <p15:clr>
            <a:srgbClr val="F26B43"/>
          </p15:clr>
        </p15:guide>
        <p15:guide id="14" pos="198" userDrawn="1">
          <p15:clr>
            <a:srgbClr val="F26B43"/>
          </p15:clr>
        </p15:guide>
        <p15:guide id="15" pos="7479" userDrawn="1">
          <p15:clr>
            <a:srgbClr val="F26B43"/>
          </p15:clr>
        </p15:guide>
        <p15:guide id="16" pos="6940" userDrawn="1">
          <p15:clr>
            <a:srgbClr val="F26B43"/>
          </p15:clr>
        </p15:guide>
        <p15:guide id="17" pos="6861" userDrawn="1">
          <p15:clr>
            <a:srgbClr val="F26B43"/>
          </p15:clr>
        </p15:guide>
        <p15:guide id="18" pos="728" userDrawn="1">
          <p15:clr>
            <a:srgbClr val="F26B43"/>
          </p15:clr>
        </p15:guide>
        <p15:guide id="19" pos="806" userDrawn="1">
          <p15:clr>
            <a:srgbClr val="F26B43"/>
          </p15:clr>
        </p15:guide>
        <p15:guide id="20" pos="6327" userDrawn="1">
          <p15:clr>
            <a:srgbClr val="F26B43"/>
          </p15:clr>
        </p15:guide>
        <p15:guide id="21" pos="6253" userDrawn="1">
          <p15:clr>
            <a:srgbClr val="F26B43"/>
          </p15:clr>
        </p15:guide>
        <p15:guide id="22" pos="1346" userDrawn="1">
          <p15:clr>
            <a:srgbClr val="F26B43"/>
          </p15:clr>
        </p15:guide>
        <p15:guide id="23" pos="1415" userDrawn="1">
          <p15:clr>
            <a:srgbClr val="F26B43"/>
          </p15:clr>
        </p15:guide>
        <p15:guide id="24" pos="1954" userDrawn="1">
          <p15:clr>
            <a:srgbClr val="F26B43"/>
          </p15:clr>
        </p15:guide>
        <p15:guide id="25" pos="2032" userDrawn="1">
          <p15:clr>
            <a:srgbClr val="F26B43"/>
          </p15:clr>
        </p15:guide>
        <p15:guide id="26" pos="5719" userDrawn="1">
          <p15:clr>
            <a:srgbClr val="F26B43"/>
          </p15:clr>
        </p15:guide>
        <p15:guide id="27" pos="5636" userDrawn="1">
          <p15:clr>
            <a:srgbClr val="F26B43"/>
          </p15:clr>
        </p15:guide>
        <p15:guide id="28" pos="2567" userDrawn="1">
          <p15:clr>
            <a:srgbClr val="F26B43"/>
          </p15:clr>
        </p15:guide>
        <p15:guide id="29" pos="5101" userDrawn="1">
          <p15:clr>
            <a:srgbClr val="F26B43"/>
          </p15:clr>
        </p15:guide>
        <p15:guide id="30" pos="2640" userDrawn="1">
          <p15:clr>
            <a:srgbClr val="F26B43"/>
          </p15:clr>
        </p15:guide>
        <p15:guide id="31" pos="5027" userDrawn="1">
          <p15:clr>
            <a:srgbClr val="F26B43"/>
          </p15:clr>
        </p15:guide>
        <p15:guide id="32" pos="3184" userDrawn="1">
          <p15:clr>
            <a:srgbClr val="F26B43"/>
          </p15:clr>
        </p15:guide>
        <p15:guide id="33" pos="3258" userDrawn="1">
          <p15:clr>
            <a:srgbClr val="F26B43"/>
          </p15:clr>
        </p15:guide>
        <p15:guide id="34" pos="4488" userDrawn="1">
          <p15:clr>
            <a:srgbClr val="F26B43"/>
          </p15:clr>
        </p15:guide>
        <p15:guide id="35" pos="4410" userDrawn="1">
          <p15:clr>
            <a:srgbClr val="F26B43"/>
          </p15:clr>
        </p15:guide>
        <p15:guide id="36" pos="3875" userDrawn="1">
          <p15:clr>
            <a:srgbClr val="F26B43"/>
          </p15:clr>
        </p15:guide>
        <p15:guide id="37" pos="3797" userDrawn="1">
          <p15:clr>
            <a:srgbClr val="F26B43"/>
          </p15:clr>
        </p15:guide>
        <p15:guide id="38" orient="horz" pos="3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kwame.osei-tutu@azubiafrica.org" TargetMode="External"/><Relationship Id="rId2" Type="http://schemas.openxmlformats.org/officeDocument/2006/relationships/hyperlink" Target="mailto:benjamin.schunke@azubiafrica.org" TargetMode="Externa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8B3C111-4AB6-5629-CDBD-E76BE8BB4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012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0171539-4396-E84B-9B0B-32507DFC7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Productivity hacks for managers and their tea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D96600-21B3-9746-B4F4-76B6C56636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Leverage International Toolboxes </a:t>
            </a:r>
            <a:br>
              <a:rPr lang="en-US" dirty="0"/>
            </a:br>
            <a:r>
              <a:rPr lang="en-US" dirty="0"/>
              <a:t>For Increased Performance </a:t>
            </a:r>
            <a:br>
              <a:rPr lang="en-US" dirty="0"/>
            </a:br>
            <a:r>
              <a:rPr lang="en-US" dirty="0"/>
              <a:t>(German-Ghanaian Case Study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577A2D-D46E-1748-B779-01F735DAB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ENJAMIN SCHUNKE</a:t>
            </a:r>
            <a:br>
              <a:rPr lang="en-US" dirty="0"/>
            </a:br>
            <a:r>
              <a:rPr lang="en-US" dirty="0"/>
              <a:t>KWAME OSEI-TUTU</a:t>
            </a:r>
          </a:p>
        </p:txBody>
      </p:sp>
    </p:spTree>
    <p:extLst>
      <p:ext uri="{BB962C8B-B14F-4D97-AF65-F5344CB8AC3E}">
        <p14:creationId xmlns:p14="http://schemas.microsoft.com/office/powerpoint/2010/main" val="385190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44022BE-A009-767A-03EB-4D70A3F1AE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494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C274C7-C9EB-264D-8DBE-910D8514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ur company FAIRPOINTERS – we are all about PRODUCTIVITY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083DED-36A7-BA4D-857D-2F5802556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DCA741-EFF6-9B4F-B80B-0FBBB6871F49}" type="datetime3">
              <a:rPr kumimoji="0" lang="en-US" sz="800" b="0" i="0" u="none" strike="noStrike" kern="1200" cap="all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uly 2024</a:t>
            </a:fld>
            <a:endParaRPr kumimoji="0" lang="en-US" sz="800" b="0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CD405-56F0-DC4E-A8AE-97B9A2DC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ivity Hack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BE7ACE-9C41-8D4A-9234-B5B68637A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73FCEF-5573-7E43-8272-70C9D66591D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D6F5D4-D497-02D3-FA8B-AEA4590BA1CE}"/>
              </a:ext>
            </a:extLst>
          </p:cNvPr>
          <p:cNvCxnSpPr/>
          <p:nvPr/>
        </p:nvCxnSpPr>
        <p:spPr>
          <a:xfrm>
            <a:off x="314325" y="2033081"/>
            <a:ext cx="5705475" cy="0"/>
          </a:xfrm>
          <a:prstGeom prst="line">
            <a:avLst/>
          </a:prstGeom>
          <a:ln>
            <a:solidFill>
              <a:srgbClr val="4F17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EA284D13-7584-D696-44B9-B83D5587AAA4}"/>
              </a:ext>
            </a:extLst>
          </p:cNvPr>
          <p:cNvSpPr/>
          <p:nvPr/>
        </p:nvSpPr>
        <p:spPr>
          <a:xfrm>
            <a:off x="314324" y="1799616"/>
            <a:ext cx="3762375" cy="466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b="1" dirty="0">
                <a:solidFill>
                  <a:srgbClr val="4F17A8"/>
                </a:solidFill>
              </a:rPr>
              <a:t>FAIRPOINTERS as a Company...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AFCD1E4-EAD0-1C64-2F2D-9853A86DE4D9}"/>
              </a:ext>
            </a:extLst>
          </p:cNvPr>
          <p:cNvCxnSpPr/>
          <p:nvPr/>
        </p:nvCxnSpPr>
        <p:spPr>
          <a:xfrm>
            <a:off x="6172200" y="2033081"/>
            <a:ext cx="5700712" cy="0"/>
          </a:xfrm>
          <a:prstGeom prst="line">
            <a:avLst/>
          </a:prstGeom>
          <a:ln>
            <a:solidFill>
              <a:srgbClr val="FF61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C2BB44C-85B0-0181-7FE4-73F564EB80E4}"/>
              </a:ext>
            </a:extLst>
          </p:cNvPr>
          <p:cNvSpPr/>
          <p:nvPr/>
        </p:nvSpPr>
        <p:spPr>
          <a:xfrm>
            <a:off x="6172199" y="1799616"/>
            <a:ext cx="3295651" cy="466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b="1" dirty="0">
                <a:solidFill>
                  <a:srgbClr val="FF610F"/>
                </a:solidFill>
              </a:rPr>
              <a:t>... and as a Service Provider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346900C5-1311-9F57-4C59-84726874F0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74375" y="5032375"/>
            <a:ext cx="1003300" cy="1003300"/>
          </a:xfrm>
          <a:prstGeom prst="rect">
            <a:avLst/>
          </a:prstGeom>
        </p:spPr>
      </p:pic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1314759B-00D5-42B9-1EC7-16E4128308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4325" y="2326639"/>
            <a:ext cx="5705475" cy="3709035"/>
          </a:xfrm>
          <a:noFill/>
        </p:spPr>
        <p:txBody>
          <a:bodyPr/>
          <a:lstStyle/>
          <a:p>
            <a:pPr lvl="1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sz="1800" dirty="0"/>
              <a:t>Our purpose is to </a:t>
            </a:r>
            <a:r>
              <a:rPr lang="en-US" sz="1800" b="1" dirty="0"/>
              <a:t>create scalable and quality employment</a:t>
            </a:r>
            <a:r>
              <a:rPr lang="en-US" sz="1800" dirty="0"/>
              <a:t> in </a:t>
            </a:r>
            <a:r>
              <a:rPr lang="en-US" sz="1800" b="1" dirty="0"/>
              <a:t>Africa.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sz="1800" dirty="0"/>
              <a:t>We </a:t>
            </a:r>
            <a:r>
              <a:rPr lang="en-US" sz="1800" b="1" dirty="0"/>
              <a:t>upskill &amp; manage</a:t>
            </a:r>
            <a:r>
              <a:rPr lang="en-US" sz="1800" dirty="0"/>
              <a:t> our staff to </a:t>
            </a:r>
            <a:r>
              <a:rPr lang="en-US" sz="1800" b="1" dirty="0"/>
              <a:t>international standards.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sz="1800" dirty="0"/>
              <a:t>Linking </a:t>
            </a:r>
            <a:r>
              <a:rPr lang="en-US" sz="1800" b="1" dirty="0"/>
              <a:t>outstanding minded talents </a:t>
            </a:r>
            <a:r>
              <a:rPr lang="en-US" sz="1800" dirty="0"/>
              <a:t>with ambitious and </a:t>
            </a:r>
            <a:r>
              <a:rPr lang="en-US" sz="1800" b="1" dirty="0"/>
              <a:t>demanding clients overseas.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sz="1800" dirty="0"/>
              <a:t>We achieve this by: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dirty="0"/>
              <a:t>Relentless </a:t>
            </a:r>
            <a:r>
              <a:rPr lang="en-US" b="1" dirty="0"/>
              <a:t>productivity orientation</a:t>
            </a:r>
            <a:r>
              <a:rPr lang="en-US" dirty="0"/>
              <a:t>, using best practice tools  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dirty="0"/>
              <a:t>Unconditional </a:t>
            </a:r>
            <a:r>
              <a:rPr lang="en-US" b="1" dirty="0"/>
              <a:t>client orientation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dirty="0"/>
              <a:t>True </a:t>
            </a:r>
            <a:r>
              <a:rPr lang="en-US" b="1" dirty="0"/>
              <a:t>mental health </a:t>
            </a:r>
            <a:r>
              <a:rPr lang="en-US" dirty="0"/>
              <a:t>management 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r>
              <a:rPr lang="en-US" b="1" dirty="0"/>
              <a:t>Tailored training </a:t>
            </a:r>
            <a:r>
              <a:rPr lang="en-US" dirty="0"/>
              <a:t>for team excellence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4F17A8"/>
              </a:buClr>
            </a:pPr>
            <a:endParaRPr lang="en-US" sz="1800" b="1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70CB941-E42C-61F5-4C3D-1447CF675F7C}"/>
              </a:ext>
            </a:extLst>
          </p:cNvPr>
          <p:cNvSpPr txBox="1">
            <a:spLocks/>
          </p:cNvSpPr>
          <p:nvPr/>
        </p:nvSpPr>
        <p:spPr>
          <a:xfrm>
            <a:off x="6172200" y="2326639"/>
            <a:ext cx="5705475" cy="370903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10D"/>
              </a:buClr>
              <a:buSzPct val="60000"/>
              <a:buFont typeface="Arial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10D"/>
              </a:buClr>
              <a:buSzPct val="60000"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65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10D"/>
              </a:buClr>
              <a:buSzPct val="80000"/>
              <a:buFont typeface="System Font Regular"/>
              <a:buChar char="–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93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610D"/>
              </a:buClr>
              <a:buSzPct val="80000"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sz="1800" dirty="0"/>
              <a:t>Our mission is to </a:t>
            </a:r>
            <a:r>
              <a:rPr lang="en-US" sz="1800" b="1" dirty="0"/>
              <a:t>make our clients more productive </a:t>
            </a:r>
            <a:r>
              <a:rPr lang="en-US" sz="1800" dirty="0"/>
              <a:t>– by doing their work for them 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sz="1800" dirty="0"/>
              <a:t>We specialize in creating </a:t>
            </a:r>
            <a:r>
              <a:rPr lang="en-US" sz="1800" b="1" dirty="0"/>
              <a:t>high-quality presentations &amp; documents </a:t>
            </a:r>
            <a:r>
              <a:rPr lang="en-US" sz="1800" dirty="0"/>
              <a:t>for C-level and international consultants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sz="1800" dirty="0"/>
              <a:t>We work </a:t>
            </a:r>
            <a:r>
              <a:rPr lang="en-US" sz="1800" b="1" dirty="0"/>
              <a:t>overnight</a:t>
            </a:r>
            <a:r>
              <a:rPr lang="en-US" sz="1800" dirty="0"/>
              <a:t> as well as </a:t>
            </a:r>
            <a:r>
              <a:rPr lang="en-US" sz="1800" b="1" dirty="0"/>
              <a:t>ad-hoc</a:t>
            </a:r>
            <a:r>
              <a:rPr lang="en-US" sz="1800" dirty="0"/>
              <a:t> </a:t>
            </a:r>
          </a:p>
          <a:p>
            <a:pPr lvl="1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sz="1800" dirty="0"/>
              <a:t>We handle a </a:t>
            </a:r>
            <a:r>
              <a:rPr lang="en-US" sz="1800" b="1" dirty="0"/>
              <a:t>wide range </a:t>
            </a:r>
            <a:r>
              <a:rPr lang="en-US" sz="1800" dirty="0"/>
              <a:t>of tasks, including: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dirty="0"/>
              <a:t>Sketches to presentation 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dirty="0"/>
              <a:t>Presentation story lining 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dirty="0"/>
              <a:t>Data analysis &amp; visualization</a:t>
            </a:r>
          </a:p>
          <a:p>
            <a:pPr lvl="2">
              <a:spcBef>
                <a:spcPts val="0"/>
              </a:spcBef>
              <a:spcAft>
                <a:spcPts val="800"/>
              </a:spcAft>
              <a:buClr>
                <a:srgbClr val="FF610F"/>
              </a:buClr>
            </a:pPr>
            <a:r>
              <a:rPr lang="en-US" dirty="0"/>
              <a:t>Tailored business illustrations​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DE4D7FBD-73FA-5EFC-A9B5-752F76178F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16500" y="5032375"/>
            <a:ext cx="1003300" cy="100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790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81B382-85C3-C940-913F-5CB38A3340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25898" y="2007764"/>
            <a:ext cx="3165577" cy="4043363"/>
          </a:xfrm>
        </p:spPr>
        <p:txBody>
          <a:bodyPr/>
          <a:lstStyle/>
          <a:p>
            <a:r>
              <a:rPr lang="en-US" dirty="0"/>
              <a:t>Tool 2</a:t>
            </a:r>
          </a:p>
          <a:p>
            <a:pPr lvl="1"/>
            <a:r>
              <a:rPr lang="en-US" dirty="0"/>
              <a:t>EFFICIENT ELEMENTS</a:t>
            </a:r>
          </a:p>
          <a:p>
            <a:pPr lvl="2"/>
            <a:r>
              <a:rPr lang="en-US" dirty="0"/>
              <a:t>Add-on for PPT </a:t>
            </a:r>
          </a:p>
          <a:p>
            <a:pPr lvl="4"/>
            <a:r>
              <a:rPr lang="en-US" dirty="0"/>
              <a:t>SAVING US UP TO 80% to create concise and structured presentations &amp; DOCUMENTS 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85CA87-0E18-454F-B888-F682EC4CF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9497B-14A5-5443-B3E4-46F4ED5E5B8C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6870DE-0077-3646-A84C-197979467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ivity Hack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06CE49-40F1-FD43-9956-1E705EB5F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FC80C3-77F7-874E-9CBE-A70B9120D3ED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US" dirty="0"/>
              <a:t>Tool 3</a:t>
            </a:r>
          </a:p>
          <a:p>
            <a:pPr lvl="1"/>
            <a:r>
              <a:rPr lang="en-US" dirty="0"/>
              <a:t>SIMPLESAT</a:t>
            </a:r>
          </a:p>
          <a:p>
            <a:pPr lvl="2"/>
            <a:r>
              <a:rPr lang="en-US" dirty="0"/>
              <a:t>Web-based client satisfaction</a:t>
            </a:r>
          </a:p>
          <a:p>
            <a:pPr lvl="4"/>
            <a:r>
              <a:rPr lang="en-US" dirty="0"/>
              <a:t>QUADRUPLED OUR CLIENT feedback, true insights into staff performance</a:t>
            </a:r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B1F4DE7-A70B-1F43-849C-38DC1A9EB785}"/>
              </a:ext>
            </a:extLst>
          </p:cNvPr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r>
              <a:rPr lang="en-US" dirty="0"/>
              <a:t>Tool 1</a:t>
            </a:r>
          </a:p>
          <a:p>
            <a:pPr lvl="1"/>
            <a:r>
              <a:rPr lang="en-US" dirty="0"/>
              <a:t>THINKCELL </a:t>
            </a:r>
          </a:p>
          <a:p>
            <a:pPr lvl="2"/>
            <a:r>
              <a:rPr lang="en-US" dirty="0"/>
              <a:t>Add-on for PPT &amp; XLS</a:t>
            </a:r>
          </a:p>
          <a:p>
            <a:pPr lvl="4"/>
            <a:r>
              <a:rPr lang="en-US" dirty="0"/>
              <a:t>Saving us up to 70% time to create tailored and adaptable data visualiza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477B66A-A4BD-DD05-35B2-46E49D217186}"/>
              </a:ext>
            </a:extLst>
          </p:cNvPr>
          <p:cNvSpPr txBox="1">
            <a:spLocks/>
          </p:cNvSpPr>
          <p:nvPr/>
        </p:nvSpPr>
        <p:spPr>
          <a:xfrm>
            <a:off x="314325" y="302839"/>
            <a:ext cx="11558588" cy="3781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OUR PRODUCTIVITY </a:t>
            </a:r>
            <a:br>
              <a:rPr lang="en-US" dirty="0"/>
            </a:br>
            <a:r>
              <a:rPr lang="en-US" sz="5400" b="1" dirty="0"/>
              <a:t>TOOL BOX (1/2)</a:t>
            </a:r>
            <a:endParaRPr lang="en-US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B79529-9964-7D27-6E9D-5AB9707D5E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904" y="3552824"/>
            <a:ext cx="3126358" cy="26282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4368EF-8600-DD0C-6B21-944F41611B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777"/>
          <a:stretch/>
        </p:blipFill>
        <p:spPr>
          <a:xfrm>
            <a:off x="4300968" y="3552824"/>
            <a:ext cx="3601280" cy="26003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E70EED9-E418-F758-61CB-F2567FA0B1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502" r="20141"/>
          <a:stretch/>
        </p:blipFill>
        <p:spPr>
          <a:xfrm>
            <a:off x="9363075" y="4170638"/>
            <a:ext cx="2612677" cy="20104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BBAE8E9-77D9-E55A-DD9A-15BA0CACD4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8524" y="3552824"/>
            <a:ext cx="2198078" cy="17145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5408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81B382-85C3-C940-913F-5CB38A3340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25898" y="2007764"/>
            <a:ext cx="3165577" cy="4043363"/>
          </a:xfrm>
        </p:spPr>
        <p:txBody>
          <a:bodyPr/>
          <a:lstStyle/>
          <a:p>
            <a:r>
              <a:rPr lang="en-US" dirty="0"/>
              <a:t>Tool 5</a:t>
            </a:r>
          </a:p>
          <a:p>
            <a:pPr lvl="1"/>
            <a:r>
              <a:rPr lang="en-US" dirty="0"/>
              <a:t>CAPACITY PLANNER </a:t>
            </a:r>
          </a:p>
          <a:p>
            <a:pPr lvl="2"/>
            <a:r>
              <a:rPr lang="en-US" dirty="0"/>
              <a:t>Internal XLS</a:t>
            </a:r>
          </a:p>
          <a:p>
            <a:pPr lvl="4"/>
            <a:r>
              <a:rPr lang="en-US" dirty="0"/>
              <a:t>tracking of output &amp; ALLOCATION OF TASKS on hourly basis for all staff – 100% transparency 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85CA87-0E18-454F-B888-F682EC4CF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9497B-14A5-5443-B3E4-46F4ED5E5B8C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6870DE-0077-3646-A84C-197979467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ivity Hack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06CE49-40F1-FD43-9956-1E705EB5F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FC80C3-77F7-874E-9CBE-A70B9120D3ED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US" dirty="0"/>
              <a:t>Tool 6</a:t>
            </a:r>
          </a:p>
          <a:p>
            <a:pPr lvl="1"/>
            <a:r>
              <a:rPr lang="en-US" dirty="0"/>
              <a:t>HEALHTY MINDS</a:t>
            </a:r>
          </a:p>
          <a:p>
            <a:pPr lvl="2"/>
            <a:r>
              <a:rPr lang="en-US" dirty="0"/>
              <a:t>App-based</a:t>
            </a:r>
          </a:p>
          <a:p>
            <a:pPr lvl="4"/>
            <a:r>
              <a:rPr lang="en-US" dirty="0"/>
              <a:t>GUIDED PATH FOR ALL STAFF FOR MORE RESLIENCE AND STRESS MANAGEMENT – </a:t>
            </a:r>
            <a:br>
              <a:rPr lang="en-US" dirty="0"/>
            </a:br>
            <a:r>
              <a:rPr lang="en-US" dirty="0"/>
              <a:t>FREE &amp; SCIENCE BASED! </a:t>
            </a:r>
            <a:r>
              <a:rPr lang="en-US" i="1" dirty="0"/>
              <a:t>Enabled by user group and mental health coach</a:t>
            </a:r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B1F4DE7-A70B-1F43-849C-38DC1A9EB78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06903" y="2007764"/>
            <a:ext cx="2922122" cy="4043363"/>
          </a:xfrm>
        </p:spPr>
        <p:txBody>
          <a:bodyPr/>
          <a:lstStyle/>
          <a:p>
            <a:r>
              <a:rPr lang="en-US" dirty="0"/>
              <a:t>Tool 4</a:t>
            </a:r>
          </a:p>
          <a:p>
            <a:pPr lvl="1"/>
            <a:r>
              <a:rPr lang="en-US" dirty="0"/>
              <a:t>MS TEAMS FOR EDU</a:t>
            </a:r>
          </a:p>
          <a:p>
            <a:pPr lvl="2"/>
            <a:r>
              <a:rPr lang="en-US" dirty="0"/>
              <a:t>Education version of MS Teams </a:t>
            </a:r>
          </a:p>
          <a:p>
            <a:pPr lvl="4"/>
            <a:r>
              <a:rPr lang="en-US" dirty="0"/>
              <a:t>PUTS TEAM IN A LEARNING ENVIRONMENT, training assignments, feedback </a:t>
            </a:r>
            <a:r>
              <a:rPr lang="en-US" dirty="0" err="1"/>
              <a:t>etc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477B66A-A4BD-DD05-35B2-46E49D217186}"/>
              </a:ext>
            </a:extLst>
          </p:cNvPr>
          <p:cNvSpPr txBox="1">
            <a:spLocks/>
          </p:cNvSpPr>
          <p:nvPr/>
        </p:nvSpPr>
        <p:spPr>
          <a:xfrm>
            <a:off x="314325" y="302839"/>
            <a:ext cx="11558588" cy="3781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OUR PRODUCTIVITY </a:t>
            </a:r>
            <a:br>
              <a:rPr lang="en-US" dirty="0"/>
            </a:br>
            <a:r>
              <a:rPr lang="en-US" sz="5400" b="1" dirty="0"/>
              <a:t>TOOL BOX (2/2)</a:t>
            </a:r>
            <a:endParaRPr lang="en-US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318BEBB-95C2-0193-C52F-B4B9BDB2F3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281" t="6806" r="34453" b="27778"/>
          <a:stretch/>
        </p:blipFill>
        <p:spPr>
          <a:xfrm>
            <a:off x="706903" y="3543300"/>
            <a:ext cx="3187033" cy="204787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0A6F03E-7162-037C-61BE-618F712824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807" y="4065165"/>
            <a:ext cx="1936926" cy="19859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13EE2DD-0A68-BBF2-2E23-08B4F61D49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2975" y="4452802"/>
            <a:ext cx="3238467" cy="192894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2461016-9102-A98E-757D-608D1283B3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3122" y="3552826"/>
            <a:ext cx="2942054" cy="14585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8B40FD7-BC95-F0F3-2601-FC4135EE957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609"/>
          <a:stretch/>
        </p:blipFill>
        <p:spPr>
          <a:xfrm>
            <a:off x="8148476" y="3943350"/>
            <a:ext cx="4043524" cy="2260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633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44022BE-A009-767A-03EB-4D70A3F1AE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4022BE-A009-767A-03EB-4D70A3F1A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C274C7-C9EB-264D-8DBE-910D8514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EEP DIVE 1: CLIENT FEEDBACK as source for productivity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083DED-36A7-BA4D-857D-2F5802556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DCA741-EFF6-9B4F-B80B-0FBBB6871F49}" type="datetime3">
              <a:rPr kumimoji="0" lang="en-US" sz="800" b="0" i="0" u="none" strike="noStrike" kern="1200" cap="all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uly 2024</a:t>
            </a:fld>
            <a:endParaRPr kumimoji="0" lang="en-US" sz="800" b="0" i="0" u="none" strike="noStrike" kern="1200" cap="all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CD405-56F0-DC4E-A8AE-97B9A2DC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ivity Hack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BE7ACE-9C41-8D4A-9234-B5B68637A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73FCEF-5573-7E43-8272-70C9D66591D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E5ABD0-F9D2-A178-EFD5-602F1E7512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325" y="785033"/>
            <a:ext cx="10889456" cy="5287934"/>
          </a:xfrm>
          <a:prstGeom prst="rect">
            <a:avLst/>
          </a:prstGeom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3BB2D087-87B4-B38B-1475-2BAFDF42C44B}"/>
              </a:ext>
            </a:extLst>
          </p:cNvPr>
          <p:cNvSpPr/>
          <p:nvPr/>
        </p:nvSpPr>
        <p:spPr>
          <a:xfrm>
            <a:off x="7581900" y="866775"/>
            <a:ext cx="2041524" cy="600075"/>
          </a:xfrm>
          <a:prstGeom prst="wedgeRectCallout">
            <a:avLst>
              <a:gd name="adj1" fmla="val 63921"/>
              <a:gd name="adj2" fmla="val 67262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Real-time </a:t>
            </a:r>
            <a:r>
              <a:rPr lang="de-DE" sz="1600" dirty="0" err="1"/>
              <a:t>monitoring</a:t>
            </a:r>
            <a:r>
              <a:rPr lang="de-DE" sz="1600" dirty="0"/>
              <a:t> &amp; </a:t>
            </a:r>
            <a:r>
              <a:rPr lang="de-DE" sz="1600" dirty="0" err="1"/>
              <a:t>alerts</a:t>
            </a:r>
            <a:endParaRPr lang="de-DE" sz="1600" dirty="0"/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C5BDD355-D529-E294-A76E-20D331F9CFD6}"/>
              </a:ext>
            </a:extLst>
          </p:cNvPr>
          <p:cNvSpPr/>
          <p:nvPr/>
        </p:nvSpPr>
        <p:spPr>
          <a:xfrm>
            <a:off x="988219" y="2236787"/>
            <a:ext cx="1457325" cy="600075"/>
          </a:xfrm>
          <a:prstGeom prst="wedgeRectCallout">
            <a:avLst>
              <a:gd name="adj1" fmla="val -70066"/>
              <a:gd name="adj2" fmla="val 25992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Deep-</a:t>
            </a:r>
            <a:r>
              <a:rPr lang="de-DE" sz="1600" dirty="0" err="1"/>
              <a:t>dives</a:t>
            </a:r>
            <a:r>
              <a:rPr lang="de-DE" sz="1600" dirty="0"/>
              <a:t> on </a:t>
            </a:r>
            <a:r>
              <a:rPr lang="de-DE" sz="1600" dirty="0" err="1"/>
              <a:t>staff</a:t>
            </a:r>
            <a:r>
              <a:rPr lang="de-DE" sz="1600" dirty="0"/>
              <a:t> </a:t>
            </a:r>
            <a:r>
              <a:rPr lang="de-DE" sz="1600" dirty="0" err="1"/>
              <a:t>level</a:t>
            </a:r>
            <a:endParaRPr lang="de-DE" sz="1600" dirty="0"/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770D009B-C84A-1139-CD04-CCD93603B12B}"/>
              </a:ext>
            </a:extLst>
          </p:cNvPr>
          <p:cNvSpPr/>
          <p:nvPr/>
        </p:nvSpPr>
        <p:spPr>
          <a:xfrm>
            <a:off x="314325" y="5314360"/>
            <a:ext cx="1688306" cy="600075"/>
          </a:xfrm>
          <a:prstGeom prst="wedgeRectCallout">
            <a:avLst>
              <a:gd name="adj1" fmla="val 74927"/>
              <a:gd name="adj2" fmla="val -69246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CSAT </a:t>
            </a:r>
            <a:r>
              <a:rPr lang="de-DE" sz="1600" dirty="0" err="1"/>
              <a:t>results</a:t>
            </a:r>
            <a:r>
              <a:rPr lang="de-DE" sz="1600" dirty="0"/>
              <a:t> in </a:t>
            </a:r>
            <a:r>
              <a:rPr lang="de-DE" sz="1600" dirty="0" err="1"/>
              <a:t>renumeration</a:t>
            </a:r>
            <a:endParaRPr lang="de-DE" sz="1600" dirty="0"/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7CD65B40-0382-FC16-0EBC-35A91FDB509D}"/>
              </a:ext>
            </a:extLst>
          </p:cNvPr>
          <p:cNvSpPr/>
          <p:nvPr/>
        </p:nvSpPr>
        <p:spPr>
          <a:xfrm>
            <a:off x="7286625" y="4305300"/>
            <a:ext cx="2041524" cy="600075"/>
          </a:xfrm>
          <a:prstGeom prst="wedgeRectCallout">
            <a:avLst>
              <a:gd name="adj1" fmla="val -25193"/>
              <a:gd name="adj2" fmla="val 7996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Trend </a:t>
            </a:r>
            <a:br>
              <a:rPr lang="de-DE" sz="1600" dirty="0"/>
            </a:br>
            <a:r>
              <a:rPr lang="de-DE" sz="1600" dirty="0" err="1"/>
              <a:t>analysis</a:t>
            </a:r>
            <a:r>
              <a:rPr lang="de-DE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1986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44022BE-A009-767A-03EB-4D70A3F1AE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59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4022BE-A009-767A-03EB-4D70A3F1A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C274C7-C9EB-264D-8DBE-910D8514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EEP DIVE 1: CLIENT FEEDBACK as source for productivity (cont’d) 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083DED-36A7-BA4D-857D-2F5802556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DCA741-EFF6-9B4F-B80B-0FBBB6871F49}" type="datetime3">
              <a:rPr kumimoji="0" lang="en-US" sz="800" b="0" i="0" u="none" strike="noStrike" kern="1200" cap="all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July 2024</a:t>
            </a:fld>
            <a:endParaRPr kumimoji="0" lang="en-US" sz="800" b="0" i="0" u="none" strike="noStrike" kern="1200" cap="all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CD405-56F0-DC4E-A8AE-97B9A2DC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ivity Hack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BE7ACE-9C41-8D4A-9234-B5B68637A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73FCEF-5573-7E43-8272-70C9D66591D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78BFCE-E3D5-49B3-3BCF-084E16F2D7FA}"/>
              </a:ext>
            </a:extLst>
          </p:cNvPr>
          <p:cNvCxnSpPr/>
          <p:nvPr/>
        </p:nvCxnSpPr>
        <p:spPr>
          <a:xfrm>
            <a:off x="314325" y="2033081"/>
            <a:ext cx="5705475" cy="0"/>
          </a:xfrm>
          <a:prstGeom prst="line">
            <a:avLst/>
          </a:prstGeom>
          <a:ln>
            <a:solidFill>
              <a:srgbClr val="FF61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22EB83D-0D5E-5570-BB49-0DEDC880DD6F}"/>
              </a:ext>
            </a:extLst>
          </p:cNvPr>
          <p:cNvCxnSpPr/>
          <p:nvPr/>
        </p:nvCxnSpPr>
        <p:spPr>
          <a:xfrm>
            <a:off x="6172200" y="2033081"/>
            <a:ext cx="57007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7C87A55-2A35-0A30-BA08-F61543E3CAB1}"/>
              </a:ext>
            </a:extLst>
          </p:cNvPr>
          <p:cNvSpPr/>
          <p:nvPr/>
        </p:nvSpPr>
        <p:spPr>
          <a:xfrm>
            <a:off x="316707" y="1799616"/>
            <a:ext cx="2737961" cy="466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b="1" dirty="0">
                <a:solidFill>
                  <a:srgbClr val="FF610F"/>
                </a:solidFill>
              </a:rPr>
              <a:t>Positive Feedback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130F130A-B52D-4CDF-DCD7-F2D2E4EAA1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16036" y="1889760"/>
            <a:ext cx="286642" cy="28664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5253ABA-063C-2045-B100-146EA34DE371}"/>
              </a:ext>
            </a:extLst>
          </p:cNvPr>
          <p:cNvSpPr/>
          <p:nvPr/>
        </p:nvSpPr>
        <p:spPr>
          <a:xfrm>
            <a:off x="6169819" y="1799616"/>
            <a:ext cx="2737961" cy="4669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0" rIns="0" bIns="0" rtlCol="0" anchor="ctr"/>
          <a:lstStyle/>
          <a:p>
            <a:r>
              <a:rPr lang="en-US" b="1" dirty="0">
                <a:solidFill>
                  <a:schemeClr val="tx1"/>
                </a:solidFill>
              </a:rPr>
              <a:t>Negative Feedback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6CCD855-5715-099A-7DB6-80088BC734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V="1">
            <a:off x="8495473" y="1889760"/>
            <a:ext cx="286642" cy="286642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45FDF18A-A2B8-0F0D-D326-3B5C1FE0381D}"/>
              </a:ext>
            </a:extLst>
          </p:cNvPr>
          <p:cNvSpPr/>
          <p:nvPr/>
        </p:nvSpPr>
        <p:spPr>
          <a:xfrm>
            <a:off x="314325" y="2326639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Positive feedback serves as a </a:t>
            </a:r>
            <a:r>
              <a:rPr lang="en-US" sz="1600" b="1" dirty="0">
                <a:solidFill>
                  <a:srgbClr val="FF610F"/>
                </a:solidFill>
              </a:rPr>
              <a:t>morale booster </a:t>
            </a:r>
            <a:r>
              <a:rPr lang="en-US" sz="1600" dirty="0">
                <a:solidFill>
                  <a:schemeClr val="tx1"/>
                </a:solidFill>
              </a:rPr>
              <a:t>for our team.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A524503-7482-43F2-234D-3CAC077E07BB}"/>
              </a:ext>
            </a:extLst>
          </p:cNvPr>
          <p:cNvSpPr/>
          <p:nvPr/>
        </p:nvSpPr>
        <p:spPr>
          <a:xfrm>
            <a:off x="314325" y="3169144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By reviewing feedback, we can find and record </a:t>
            </a:r>
            <a:r>
              <a:rPr lang="en-US" sz="1600" b="1" dirty="0">
                <a:solidFill>
                  <a:srgbClr val="FF610F"/>
                </a:solidFill>
              </a:rPr>
              <a:t>what works best</a:t>
            </a:r>
            <a:r>
              <a:rPr lang="en-US" sz="1600" dirty="0">
                <a:solidFill>
                  <a:srgbClr val="FF610F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for our clients (i.e. being more productive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481DB1D-4C6B-A2C5-EC3F-9C7A67D17DF9}"/>
              </a:ext>
            </a:extLst>
          </p:cNvPr>
          <p:cNvSpPr/>
          <p:nvPr/>
        </p:nvSpPr>
        <p:spPr>
          <a:xfrm>
            <a:off x="314325" y="4011649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Provides </a:t>
            </a:r>
            <a:r>
              <a:rPr lang="en-US" sz="1600" b="1" dirty="0">
                <a:solidFill>
                  <a:srgbClr val="FF610F"/>
                </a:solidFill>
              </a:rPr>
              <a:t>validation</a:t>
            </a:r>
            <a:r>
              <a:rPr lang="en-US" sz="1600" dirty="0">
                <a:solidFill>
                  <a:schemeClr val="tx1"/>
                </a:solidFill>
              </a:rPr>
              <a:t> for </a:t>
            </a:r>
            <a:r>
              <a:rPr lang="en-US" sz="1600" b="1" dirty="0">
                <a:solidFill>
                  <a:srgbClr val="FF610F"/>
                </a:solidFill>
              </a:rPr>
              <a:t>new ideas </a:t>
            </a:r>
            <a:r>
              <a:rPr lang="en-US" sz="1600" dirty="0">
                <a:solidFill>
                  <a:schemeClr val="tx1"/>
                </a:solidFill>
              </a:rPr>
              <a:t>and </a:t>
            </a:r>
            <a:r>
              <a:rPr lang="en-US" sz="1600" b="1" dirty="0">
                <a:solidFill>
                  <a:srgbClr val="FF610F"/>
                </a:solidFill>
              </a:rPr>
              <a:t>innovative approaches</a:t>
            </a:r>
            <a:r>
              <a:rPr lang="en-US" sz="1600" dirty="0">
                <a:solidFill>
                  <a:schemeClr val="tx1"/>
                </a:solidFill>
              </a:rPr>
              <a:t> that have been successfully implemented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5A0726C-805F-BA0A-9CA9-A9F73A119E12}"/>
              </a:ext>
            </a:extLst>
          </p:cNvPr>
          <p:cNvSpPr/>
          <p:nvPr/>
        </p:nvSpPr>
        <p:spPr>
          <a:xfrm>
            <a:off x="6167437" y="2326639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e perform a </a:t>
            </a:r>
            <a:r>
              <a:rPr lang="en-US" sz="1600" b="1" dirty="0">
                <a:solidFill>
                  <a:schemeClr val="tx1"/>
                </a:solidFill>
              </a:rPr>
              <a:t>thorough analysis</a:t>
            </a:r>
            <a:r>
              <a:rPr lang="en-US" sz="1600" dirty="0">
                <a:solidFill>
                  <a:schemeClr val="tx1"/>
                </a:solidFill>
              </a:rPr>
              <a:t> of the feedback to identify the </a:t>
            </a:r>
            <a:r>
              <a:rPr lang="en-US" sz="1600" b="1" dirty="0">
                <a:solidFill>
                  <a:schemeClr val="tx1"/>
                </a:solidFill>
              </a:rPr>
              <a:t>underlying causes </a:t>
            </a:r>
            <a:r>
              <a:rPr lang="en-US" sz="1600" dirty="0">
                <a:solidFill>
                  <a:schemeClr val="tx1"/>
                </a:solidFill>
              </a:rPr>
              <a:t>of the issues raised.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23EDC06-D905-BD01-3F47-83042782FA78}"/>
              </a:ext>
            </a:extLst>
          </p:cNvPr>
          <p:cNvSpPr/>
          <p:nvPr/>
        </p:nvSpPr>
        <p:spPr>
          <a:xfrm>
            <a:off x="6167437" y="3169144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e </a:t>
            </a:r>
            <a:r>
              <a:rPr lang="en-US" sz="1600" b="1" dirty="0">
                <a:solidFill>
                  <a:schemeClr val="tx1"/>
                </a:solidFill>
              </a:rPr>
              <a:t>integrate</a:t>
            </a:r>
            <a:r>
              <a:rPr lang="en-US" sz="1600" dirty="0">
                <a:solidFill>
                  <a:schemeClr val="tx1"/>
                </a:solidFill>
              </a:rPr>
              <a:t> feedback into our </a:t>
            </a:r>
            <a:r>
              <a:rPr lang="en-US" sz="1600" b="1" dirty="0">
                <a:solidFill>
                  <a:schemeClr val="tx1"/>
                </a:solidFill>
              </a:rPr>
              <a:t>quality assurance processes</a:t>
            </a:r>
            <a:r>
              <a:rPr lang="en-US" sz="1600" dirty="0">
                <a:solidFill>
                  <a:schemeClr val="tx1"/>
                </a:solidFill>
              </a:rPr>
              <a:t> to ensure continuous improvement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2358F80-E0A9-4500-9873-D492116014DA}"/>
              </a:ext>
            </a:extLst>
          </p:cNvPr>
          <p:cNvSpPr/>
          <p:nvPr/>
        </p:nvSpPr>
        <p:spPr>
          <a:xfrm>
            <a:off x="6167437" y="4011649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e can </a:t>
            </a:r>
            <a:r>
              <a:rPr lang="en-US" sz="1600" b="1" dirty="0">
                <a:solidFill>
                  <a:schemeClr val="tx1"/>
                </a:solidFill>
              </a:rPr>
              <a:t>upskill</a:t>
            </a:r>
            <a:r>
              <a:rPr lang="en-US" sz="1600" dirty="0">
                <a:solidFill>
                  <a:schemeClr val="tx1"/>
                </a:solidFill>
              </a:rPr>
              <a:t> our team in areas identified by clients, to meet client expectations and </a:t>
            </a:r>
            <a:r>
              <a:rPr lang="en-US" sz="1600" b="1" dirty="0">
                <a:solidFill>
                  <a:schemeClr val="tx1"/>
                </a:solidFill>
              </a:rPr>
              <a:t>avoid similar issues </a:t>
            </a:r>
            <a:r>
              <a:rPr lang="en-US" sz="1600" dirty="0">
                <a:solidFill>
                  <a:schemeClr val="tx1"/>
                </a:solidFill>
              </a:rPr>
              <a:t>in the future.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14D22E1-0C1F-D85C-1CB6-6DA52AB258A1}"/>
              </a:ext>
            </a:extLst>
          </p:cNvPr>
          <p:cNvCxnSpPr/>
          <p:nvPr/>
        </p:nvCxnSpPr>
        <p:spPr>
          <a:xfrm>
            <a:off x="558166" y="3111416"/>
            <a:ext cx="546163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CCCACEC-4CCD-5482-E01F-0FFA85CFAE81}"/>
              </a:ext>
            </a:extLst>
          </p:cNvPr>
          <p:cNvCxnSpPr/>
          <p:nvPr/>
        </p:nvCxnSpPr>
        <p:spPr>
          <a:xfrm>
            <a:off x="558166" y="3953922"/>
            <a:ext cx="546163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54CC90F-BA6D-5CF6-603D-6F6AC3A3BAC6}"/>
              </a:ext>
            </a:extLst>
          </p:cNvPr>
          <p:cNvCxnSpPr/>
          <p:nvPr/>
        </p:nvCxnSpPr>
        <p:spPr>
          <a:xfrm>
            <a:off x="6411278" y="3111416"/>
            <a:ext cx="546163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1909A92-8B3A-F9D0-AEDE-90B46CCBB8D3}"/>
              </a:ext>
            </a:extLst>
          </p:cNvPr>
          <p:cNvCxnSpPr/>
          <p:nvPr/>
        </p:nvCxnSpPr>
        <p:spPr>
          <a:xfrm>
            <a:off x="6411278" y="3953922"/>
            <a:ext cx="546163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56154743-D13C-F21F-D182-F9A050D8AA46}"/>
              </a:ext>
            </a:extLst>
          </p:cNvPr>
          <p:cNvSpPr/>
          <p:nvPr/>
        </p:nvSpPr>
        <p:spPr>
          <a:xfrm>
            <a:off x="314325" y="2620528"/>
            <a:ext cx="139272" cy="13927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FF206B4-D6E3-8735-C66E-EE7473FDA615}"/>
              </a:ext>
            </a:extLst>
          </p:cNvPr>
          <p:cNvSpPr/>
          <p:nvPr/>
        </p:nvSpPr>
        <p:spPr>
          <a:xfrm>
            <a:off x="314325" y="3463033"/>
            <a:ext cx="139272" cy="13927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B796C34-E57D-D491-0C57-CEFAD51DC094}"/>
              </a:ext>
            </a:extLst>
          </p:cNvPr>
          <p:cNvSpPr/>
          <p:nvPr/>
        </p:nvSpPr>
        <p:spPr>
          <a:xfrm>
            <a:off x="314325" y="4305538"/>
            <a:ext cx="139272" cy="13927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3DAC4E0-B26E-6656-F671-27E739352401}"/>
              </a:ext>
            </a:extLst>
          </p:cNvPr>
          <p:cNvCxnSpPr>
            <a:cxnSpLocks/>
            <a:stCxn id="76" idx="4"/>
            <a:endCxn id="10" idx="0"/>
          </p:cNvCxnSpPr>
          <p:nvPr/>
        </p:nvCxnSpPr>
        <p:spPr>
          <a:xfrm>
            <a:off x="383961" y="2759800"/>
            <a:ext cx="0" cy="2363863"/>
          </a:xfrm>
          <a:prstGeom prst="line">
            <a:avLst/>
          </a:prstGeom>
          <a:ln w="12700">
            <a:solidFill>
              <a:srgbClr val="FF61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84">
            <a:extLst>
              <a:ext uri="{FF2B5EF4-FFF2-40B4-BE49-F238E27FC236}">
                <a16:creationId xmlns:a16="http://schemas.microsoft.com/office/drawing/2014/main" id="{ACD2439A-11D7-BE4B-3897-A657878DE6B2}"/>
              </a:ext>
            </a:extLst>
          </p:cNvPr>
          <p:cNvSpPr/>
          <p:nvPr/>
        </p:nvSpPr>
        <p:spPr>
          <a:xfrm>
            <a:off x="6167438" y="2620528"/>
            <a:ext cx="139272" cy="139272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12CB3CAE-6B1C-B312-0E59-FB560AEAC157}"/>
              </a:ext>
            </a:extLst>
          </p:cNvPr>
          <p:cNvSpPr/>
          <p:nvPr/>
        </p:nvSpPr>
        <p:spPr>
          <a:xfrm>
            <a:off x="6167438" y="3463033"/>
            <a:ext cx="139272" cy="139272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A93AF3E6-746C-F7CE-591C-5F51E3C154FF}"/>
              </a:ext>
            </a:extLst>
          </p:cNvPr>
          <p:cNvSpPr/>
          <p:nvPr/>
        </p:nvSpPr>
        <p:spPr>
          <a:xfrm>
            <a:off x="6167438" y="4305538"/>
            <a:ext cx="139272" cy="139272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24DFCF5-F167-EFAC-3E8D-C1F82E93F5C5}"/>
              </a:ext>
            </a:extLst>
          </p:cNvPr>
          <p:cNvCxnSpPr>
            <a:cxnSpLocks/>
            <a:stCxn id="85" idx="4"/>
            <a:endCxn id="87" idx="0"/>
          </p:cNvCxnSpPr>
          <p:nvPr/>
        </p:nvCxnSpPr>
        <p:spPr>
          <a:xfrm>
            <a:off x="6237074" y="2759800"/>
            <a:ext cx="0" cy="154573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8072786-BAA1-2FD0-52FD-4F5040E1B814}"/>
              </a:ext>
            </a:extLst>
          </p:cNvPr>
          <p:cNvSpPr/>
          <p:nvPr/>
        </p:nvSpPr>
        <p:spPr>
          <a:xfrm>
            <a:off x="314325" y="4829774"/>
            <a:ext cx="5705475" cy="727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0" rIns="91440" bIns="0"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Triggers </a:t>
            </a:r>
            <a:r>
              <a:rPr lang="en-US" sz="1600" b="1" dirty="0">
                <a:solidFill>
                  <a:srgbClr val="FF610F"/>
                </a:solidFill>
              </a:rPr>
              <a:t>monthly and quarterly staff bonus </a:t>
            </a:r>
            <a:r>
              <a:rPr lang="en-US" sz="1600" dirty="0">
                <a:solidFill>
                  <a:schemeClr val="tx1"/>
                </a:solidFill>
              </a:rPr>
              <a:t>(renumeration), considered for promotions 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835D5B7-A305-BD33-64E2-3CAABF355BAB}"/>
              </a:ext>
            </a:extLst>
          </p:cNvPr>
          <p:cNvSpPr/>
          <p:nvPr/>
        </p:nvSpPr>
        <p:spPr>
          <a:xfrm>
            <a:off x="314325" y="5123663"/>
            <a:ext cx="139272" cy="13927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583B022-22BD-8DE6-698C-31B248E16368}"/>
              </a:ext>
            </a:extLst>
          </p:cNvPr>
          <p:cNvCxnSpPr/>
          <p:nvPr/>
        </p:nvCxnSpPr>
        <p:spPr>
          <a:xfrm>
            <a:off x="558166" y="4784236"/>
            <a:ext cx="5461634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058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903DF1-98E4-7943-9E91-F0FC396A80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rgbClr val="FF610D"/>
          </a:solidFill>
        </p:spPr>
        <p:txBody>
          <a:bodyPr/>
          <a:lstStyle/>
          <a:p>
            <a:r>
              <a:rPr lang="en-US" dirty="0"/>
              <a:t>89%</a:t>
            </a:r>
          </a:p>
          <a:p>
            <a:pPr lvl="1"/>
            <a:r>
              <a:rPr lang="en-US" dirty="0"/>
              <a:t>OF THE TOP 100 US BLUE CHIP COMPANIES USE THINKCELL, A CHARTING AND LAYOUT AUTOMATION TOOL – BOOSTING EFFICENCY AND QUALITY. IT MAKES STAFF MORE PRODUCTIVE, BUT MOREOVER IT ALLOWS MANAGERS TO UNDERSTAND FINALLY THE DATA OUTPUT OF THEIR TEAMS.</a:t>
            </a:r>
          </a:p>
          <a:p>
            <a:pPr lvl="4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9DB19B-6D4C-084D-A2A3-169ED1D18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5" y="302839"/>
            <a:ext cx="9429750" cy="378198"/>
          </a:xfrm>
        </p:spPr>
        <p:txBody>
          <a:bodyPr/>
          <a:lstStyle/>
          <a:p>
            <a:r>
              <a:rPr lang="en-US" dirty="0"/>
              <a:t>DEEP DIVE 2: THINKCELL as productivity boos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B8684D-0CCF-7041-9ED4-8C538068C4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2000" b="1" dirty="0"/>
              <a:t>Financial &amp; data charts can be painful. Often, staff does not use automation. </a:t>
            </a:r>
            <a:r>
              <a:rPr lang="en-US" sz="2000" dirty="0"/>
              <a:t>Usually, the teams start to manually update numbers and pushing around shapes, creating faulty and confusing outputs. It takes forever and does not fulfill reporting requirements of managers. </a:t>
            </a:r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E31C1D-DC4E-7643-A264-BC95830A2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43986-7BF2-0746-AD8B-D1EB6734F17D}" type="datetime3">
              <a:rPr lang="en-US" smtClean="0"/>
              <a:t>22 July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A4156D-E726-F847-9DDB-F59B6EF87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ivity Hack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836CE3-2EB6-7F47-B775-EC5DEF31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34DC7D-B4E2-F539-5251-2E6BA5A067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975" y="2955160"/>
            <a:ext cx="8740659" cy="309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599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91F2AA-279F-3F49-99E3-9856F104D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D461C-5172-6C42-A812-D40C9894CAAE}" type="datetime3">
              <a:rPr lang="en-US" smtClean="0"/>
              <a:t>22 July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AD99BA-595C-7A41-9A32-FDAAF9099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1923F-B4C4-D146-B813-1BBB3551C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D07DD5-EC8E-C54F-A7D4-153F9A316B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6" y="341313"/>
            <a:ext cx="3760787" cy="5694362"/>
          </a:xfrm>
        </p:spPr>
        <p:txBody>
          <a:bodyPr/>
          <a:lstStyle/>
          <a:p>
            <a:pPr marL="182563" indent="-166688"/>
            <a:r>
              <a:rPr lang="en-US" dirty="0"/>
              <a:t>DEEP DIVE 3:</a:t>
            </a:r>
            <a:br>
              <a:rPr lang="en-US" dirty="0"/>
            </a:br>
            <a:br>
              <a:rPr lang="en-US" dirty="0"/>
            </a:br>
            <a:r>
              <a:rPr lang="en-US" sz="6000" b="1" dirty="0"/>
              <a:t>LISTEN</a:t>
            </a:r>
            <a:r>
              <a:rPr lang="en-US" b="1" dirty="0"/>
              <a:t> </a:t>
            </a:r>
            <a:r>
              <a:rPr lang="en-US" dirty="0"/>
              <a:t>TO</a:t>
            </a:r>
            <a:r>
              <a:rPr lang="en-US" b="1" dirty="0"/>
              <a:t> </a:t>
            </a:r>
            <a:br>
              <a:rPr lang="en-US" dirty="0"/>
            </a:br>
            <a:r>
              <a:rPr lang="en-US" dirty="0"/>
              <a:t>THE TEAM</a:t>
            </a:r>
          </a:p>
          <a:p>
            <a:pPr lvl="1">
              <a:spcBef>
                <a:spcPts val="1200"/>
              </a:spcBef>
            </a:pPr>
            <a:r>
              <a:rPr lang="en-US" sz="2000" dirty="0">
                <a:solidFill>
                  <a:srgbClr val="FF610F"/>
                </a:solidFill>
              </a:rPr>
              <a:t>COLLECTING</a:t>
            </a:r>
            <a:r>
              <a:rPr lang="en-US" sz="2000" b="0" dirty="0">
                <a:solidFill>
                  <a:srgbClr val="FF610F"/>
                </a:solidFill>
              </a:rPr>
              <a:t>, </a:t>
            </a:r>
            <a:r>
              <a:rPr lang="en-US" sz="2000" dirty="0">
                <a:solidFill>
                  <a:srgbClr val="FF610F"/>
                </a:solidFill>
              </a:rPr>
              <a:t>FILTERING</a:t>
            </a:r>
            <a:r>
              <a:rPr lang="en-US" sz="2000" b="0" dirty="0">
                <a:solidFill>
                  <a:srgbClr val="FF610F"/>
                </a:solidFill>
              </a:rPr>
              <a:t>, </a:t>
            </a:r>
            <a:r>
              <a:rPr lang="en-US" sz="2000" dirty="0">
                <a:solidFill>
                  <a:srgbClr val="FF610F"/>
                </a:solidFill>
              </a:rPr>
              <a:t>CHALLENGING</a:t>
            </a:r>
            <a:r>
              <a:rPr lang="en-US" sz="2000" b="0" dirty="0">
                <a:solidFill>
                  <a:srgbClr val="FF610F"/>
                </a:solidFill>
              </a:rPr>
              <a:t> and </a:t>
            </a:r>
            <a:r>
              <a:rPr lang="en-US" sz="2000" dirty="0">
                <a:solidFill>
                  <a:srgbClr val="FF610F"/>
                </a:solidFill>
              </a:rPr>
              <a:t>IMPLEMENTING</a:t>
            </a:r>
            <a:r>
              <a:rPr lang="en-US" sz="2000" b="0" dirty="0">
                <a:solidFill>
                  <a:srgbClr val="FF610F"/>
                </a:solidFill>
              </a:rPr>
              <a:t> </a:t>
            </a:r>
            <a:r>
              <a:rPr lang="en-US" sz="2000" b="0" dirty="0"/>
              <a:t>TEAM FEEDBACK IS HARD, but </a:t>
            </a:r>
            <a:br>
              <a:rPr lang="en-US" sz="2000" b="0" dirty="0"/>
            </a:br>
            <a:r>
              <a:rPr lang="en-US" sz="2000" b="0" dirty="0"/>
              <a:t>worth the work </a:t>
            </a:r>
          </a:p>
          <a:p>
            <a:pPr lvl="2"/>
            <a:r>
              <a:rPr lang="en-US" dirty="0"/>
              <a:t>SOME OF OUR BEST INNOVATIONS started with staff feedback! 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62DC15C9-3A8D-8847-8FD7-3F21D1143AF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/>
          <a:stretch/>
        </p:blipFill>
        <p:spPr>
          <a:xfrm>
            <a:off x="4191000" y="0"/>
            <a:ext cx="8001000" cy="6858000"/>
          </a:xfrm>
        </p:spPr>
      </p:pic>
    </p:spTree>
    <p:extLst>
      <p:ext uri="{BB962C8B-B14F-4D97-AF65-F5344CB8AC3E}">
        <p14:creationId xmlns:p14="http://schemas.microsoft.com/office/powerpoint/2010/main" val="4042120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548140-24C0-B646-8E82-5F287928DA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17956E-D1D7-0946-BE71-6B7039C0D3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ENJAMIN SCHUNKE &amp; KWAME OSEI-TUTU</a:t>
            </a:r>
          </a:p>
          <a:p>
            <a:r>
              <a:rPr lang="en-US" dirty="0"/>
              <a:t>Co-</a:t>
            </a:r>
            <a:r>
              <a:rPr lang="en-US" dirty="0" err="1"/>
              <a:t>FOUNDers</a:t>
            </a:r>
            <a:r>
              <a:rPr lang="en-US" dirty="0"/>
              <a:t> FAIRPOINTERS – AZUBI AFRICA </a:t>
            </a:r>
          </a:p>
          <a:p>
            <a:pPr lvl="1"/>
            <a:r>
              <a:rPr lang="en-US" dirty="0">
                <a:hlinkClick r:id="rId2"/>
              </a:rPr>
              <a:t>benjamin.schunke@azubiafrica.org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kwame.osei-tutu@azubiafrica.org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276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MI_Palette">
      <a:dk1>
        <a:srgbClr val="000000"/>
      </a:dk1>
      <a:lt1>
        <a:srgbClr val="FFFFFF"/>
      </a:lt1>
      <a:dk2>
        <a:srgbClr val="C4C5C7"/>
      </a:dk2>
      <a:lt2>
        <a:srgbClr val="E7E6E6"/>
      </a:lt2>
      <a:accent1>
        <a:srgbClr val="FF610F"/>
      </a:accent1>
      <a:accent2>
        <a:srgbClr val="DD300B"/>
      </a:accent2>
      <a:accent3>
        <a:srgbClr val="FF9361"/>
      </a:accent3>
      <a:accent4>
        <a:srgbClr val="05BFE0"/>
      </a:accent4>
      <a:accent5>
        <a:srgbClr val="0080A8"/>
      </a:accent5>
      <a:accent6>
        <a:srgbClr val="59D3EB"/>
      </a:accent6>
      <a:hlink>
        <a:srgbClr val="4F17A8"/>
      </a:hlink>
      <a:folHlink>
        <a:srgbClr val="8A66C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MI_ARIAL_0912_2019" id="{70909711-29E3-694D-9CF1-B24B830544D2}" vid="{D1202B59-CE36-D24B-BAD5-608B33454A9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F942E8DB801E49B476BCD21D80CA57" ma:contentTypeVersion="4" ma:contentTypeDescription="Create a new document." ma:contentTypeScope="" ma:versionID="be55edb8b329fc03d0843cc2aa8fb4b6">
  <xsd:schema xmlns:xsd="http://www.w3.org/2001/XMLSchema" xmlns:xs="http://www.w3.org/2001/XMLSchema" xmlns:p="http://schemas.microsoft.com/office/2006/metadata/properties" xmlns:ns2="e1e7ea6e-673f-40ae-a11d-1f24fe440446" targetNamespace="http://schemas.microsoft.com/office/2006/metadata/properties" ma:root="true" ma:fieldsID="f6bdc55c50e266cde13c6395ba08bde4" ns2:_="">
    <xsd:import namespace="e1e7ea6e-673f-40ae-a11d-1f24fe4404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7ea6e-673f-40ae-a11d-1f24fe4404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31775E-FD77-4D1E-9938-F4D5A3D3C8C0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1e7ea6e-673f-40ae-a11d-1f24fe44044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E4D89B0-F33E-4435-9D55-538510AC3D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3098AA-BF0C-4CED-8566-FD1712F25A74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1e7ea6e-673f-40ae-a11d-1f24fe44044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MI_ARIAL_0912_2019</Template>
  <TotalTime>390</TotalTime>
  <Words>666</Words>
  <Application>Microsoft Office PowerPoint</Application>
  <PresentationFormat>Widescreen</PresentationFormat>
  <Paragraphs>9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GT Pressura Mono</vt:lpstr>
      <vt:lpstr>System Font Regular</vt:lpstr>
      <vt:lpstr>Office Theme</vt:lpstr>
      <vt:lpstr>think-cell Slide</vt:lpstr>
      <vt:lpstr>Productivity hacks for managers and their teams</vt:lpstr>
      <vt:lpstr>Our company FAIRPOINTERS – we are all about PRODUCTIVITY </vt:lpstr>
      <vt:lpstr>PowerPoint Presentation</vt:lpstr>
      <vt:lpstr>PowerPoint Presentation</vt:lpstr>
      <vt:lpstr>DEEP DIVE 1: CLIENT FEEDBACK as source for productivity </vt:lpstr>
      <vt:lpstr>DEEP DIVE 1: CLIENT FEEDBACK as source for productivity (cont’d)  </vt:lpstr>
      <vt:lpstr>DEEP DIVE 2: THINKCELL as productivity booster</vt:lpstr>
      <vt:lpstr>PowerPoint Presentation</vt:lpstr>
      <vt:lpstr>Thank you</vt:lpstr>
    </vt:vector>
  </TitlesOfParts>
  <Manager/>
  <Company>Project Management Institut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Ryan Brooks</dc:creator>
  <cp:keywords/>
  <dc:description/>
  <cp:lastModifiedBy>Benjamin Schunke</cp:lastModifiedBy>
  <cp:revision>37</cp:revision>
  <cp:lastPrinted>2019-09-11T19:09:11Z</cp:lastPrinted>
  <dcterms:created xsi:type="dcterms:W3CDTF">2019-09-17T13:44:43Z</dcterms:created>
  <dcterms:modified xsi:type="dcterms:W3CDTF">2024-07-22T19:54:19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F942E8DB801E49B476BCD21D80CA57</vt:lpwstr>
  </property>
</Properties>
</file>